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</p:sldMasterIdLst>
  <p:notesMasterIdLst>
    <p:notesMasterId r:id="rId9"/>
  </p:notesMasterIdLst>
  <p:sldIdLst>
    <p:sldId id="261" r:id="rId4"/>
    <p:sldId id="257" r:id="rId5"/>
    <p:sldId id="258" r:id="rId6"/>
    <p:sldId id="262" r:id="rId7"/>
    <p:sldId id="256" r:id="rId8"/>
  </p:sldIdLst>
  <p:sldSz cx="12192000" cy="6858000"/>
  <p:notesSz cx="6858000" cy="9144000"/>
  <p:custDataLst>
    <p:tags r:id="rId1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8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customXml" Target="../customXml/item1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3B2364-B9F1-4678-B9C2-33C279DF2D97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D20B6-80EA-4570-9E17-E4DCAAF62FE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1799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8D20B6-80EA-4570-9E17-E4DCAAF62FE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998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8D20B6-80EA-4570-9E17-E4DCAAF62FE4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4542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8D20B6-80EA-4570-9E17-E4DCAAF62FE4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429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8D20B6-80EA-4570-9E17-E4DCAAF62FE4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7249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8D20B6-80EA-4570-9E17-E4DCAAF62FE4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061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D00B04-1A9C-4F8E-82BD-236D0CF55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02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D00B04-1A9C-4F8E-82BD-236D0CF55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6503290-0E64-4E68-91C4-B1EAF84A68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9D110B-3CB1-44FB-BD8C-C5D3751603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7EF98-C4F4-4531-B712-EF2C92CB1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157AC-C090-4AF5-980C-969195B97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DC643-DFCF-4FCD-A631-02BE29F19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FD6E9-4F8B-4BA0-AE56-BE4F01840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2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8D9FE1-A63B-4404-9D3C-CA431A33E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14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8D9FE1-A63B-4404-9D3C-CA431A33E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33701BD-B37D-476C-B976-F16B573CF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EC392-3F03-4658-AEAD-B547C1F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60AF3B-001D-42CC-B3E2-3233D8015E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594C73-0466-4831-81E5-6EAF2504D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CAEBD-C38A-417F-BE1A-067C1EDEA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CE357-78AA-4463-A3D0-E16AD7CDC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498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B9C4CE5-1C4A-402D-A8A0-D7074B5659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1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B9C4CE5-1C4A-402D-A8A0-D7074B565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BC0738-A6A2-479D-8AE5-B43EC0C464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070FEE-11B8-448C-84CE-4420C002E2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BE7EFA-893B-4EAB-AE25-14A3BB232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369FF-B9EC-460D-BF78-76CB14B72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D02CA-8BC6-432B-92C1-4FBC347B9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92710-579A-4375-804B-53E031B5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359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FC1A2E-E996-4746-905B-8465BF2BA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3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FC1A2E-E996-4746-905B-8465BF2BA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DEB58-80CA-4981-A376-B247000449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551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37F99-D514-4813-B38B-578DB2BAA5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197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37F99-D514-4813-B38B-578DB2BAA5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CEACBDD-CD4B-4A13-89BD-BF7FD44AE7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741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8830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EBA20F-5859-4718-898F-8A21C03489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C9A262-9477-4B56-97EA-5EFAC0EAD8B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EACED2-C9E5-4041-8D12-75F4B735A944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856930-2452-48E6-AB9C-E0A67D5F2A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216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856930-2452-48E6-AB9C-E0A67D5F2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B0982C-58D8-449A-97F6-B8EE5D320B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18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AD250E-4A49-4FD4-91B5-3AEEEC8F0E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08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AD250E-4A49-4FD4-91B5-3AEEEC8F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9C7291-9B29-439A-B310-ADEA13A7BB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8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84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678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E835D8-1AEF-4FB3-868B-64F809753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161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E835D8-1AEF-4FB3-868B-64F809753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73CAD4-726C-4D59-9C03-338FF64D29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34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3246640-77E6-4723-8B57-BDC4E2E91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560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3246640-77E6-4723-8B57-BDC4E2E91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984FDCF-CE62-4101-BC62-4F0DEBFC10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49DF9-D5AF-405F-8373-EF7C0C04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B5E3BA-6CB1-4D67-BA72-24A5FB02E9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A8EF7-6561-4308-A59F-D288FB318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6D94B5-229C-497C-84EA-FC9FFBF79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EB293-BCBB-411B-AFAD-14497831C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369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2F7E88-2811-4663-A640-692E2BDDEC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349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2F7E88-2811-4663-A640-692E2BDDE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3BE005-9713-4B95-A68B-8C11A4202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548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6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244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82C4908-A14B-4DEC-A3A8-E8972A2D66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68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82C4908-A14B-4DEC-A3A8-E8972A2D66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46403F-43CD-480D-9C91-50DEB8DE11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776533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187DAC-B780-452D-8A3C-A366C07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2568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187DAC-B780-452D-8A3C-A366C07E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7E372-2239-4C91-817C-DEE25192E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54028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3867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184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E2FA3D-C7C7-46BE-A0FB-3E158294B9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76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E2FA3D-C7C7-46BE-A0FB-3E158294B9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FB2A02-C7BD-4963-8532-3A2C960D79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339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F050ECC-CF34-4165-ACFF-B76D7C0AF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8801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F050ECC-CF34-4165-ACFF-B76D7C0AF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9F72CFB-975A-456B-A35F-12320AEE20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5441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6898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0584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945FF2-A2D7-4F6C-B421-3865DE3C8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19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945FF2-A2D7-4F6C-B421-3865DE3C8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EE52D15-66BD-4B7A-8C84-DE25843467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493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EB8C109-1691-4B13-98F5-996E7D2612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5219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EB8C109-1691-4B13-98F5-996E7D2612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9C86847-BF6C-407E-BB1A-1F73D6BE9D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75E39D-47C0-4528-B591-63845FD2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E4810-0079-433F-BAD0-730FD6D9F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E1950-9F9B-4128-A387-5487A41E6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F5A1D-EB26-408C-9B65-5608A118B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39306-6B6B-4647-82F5-DD47B50EC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07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C37D28-E1D5-4C56-9023-ACDAC206D0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642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C37D28-E1D5-4C56-9023-ACDAC206D0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B32BAA-099E-41BE-933A-87A267219B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224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96529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3060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0230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6145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89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85B7A88-5453-4BB2-983D-2ADA8EC9CE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713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85B7A88-5453-4BB2-983D-2ADA8EC9CE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5D56440-7440-4028-BF52-B12941F61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39F440-6EC8-4399-8C59-D0196E0DD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ACAF6-18E5-4B47-9FB2-7D802794A7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30B4C5-2224-4176-AB7C-61A54E42AF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52D51-81B6-4D26-A8EF-F02649A0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210124-0D51-41A1-8F5F-70365CC2E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83B7B-75D3-4BE0-B446-7BDFC1D5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913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9A92CBA-15E1-41C2-B5DE-10F40B4FA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124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9A92CBA-15E1-41C2-B5DE-10F40B4FA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BA828B-A9DC-411E-A22C-5018509EA4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0BF52-BDD8-482D-98DB-0330897D8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2DF292-716C-4126-9F29-0CAF0D61D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603AB2-6635-48DC-8A39-D8EAE1AF1A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711D59-2995-4B66-B4BD-17ED07323E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73D1B2-CDED-487D-8710-D398A512C0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F6036E-21B3-4310-9610-41C31AA0F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3843A-CB03-44CA-8FCD-802AA61B2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8D964B-F2AE-433A-935E-3D56C3C77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197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C1969C-7271-49BE-95BA-0A3B8A5D01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989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C1969C-7271-49BE-95BA-0A3B8A5D01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3356D44-8370-48D9-B695-50BBFC803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5BED4-B67D-4615-A80B-1137F563B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57B4A7-1CCF-4923-AD7E-CE851F1C3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A6EE9C-2F8F-4F2F-AD99-406DAA31B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840FE0-93B9-4B54-A932-5B10BB3E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769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6AC4F-FB8C-40FF-95B6-0CFE23EDE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DBED09-0C02-4CA1-80F1-9D0F1FCE5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40002-5755-4276-8560-012BF9A8B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451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E9E4BF-0BD3-4BB1-9DAA-6A3F7676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6949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E9E4BF-0BD3-4BB1-9DAA-6A3F7676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7109BD0-3C45-4AFE-BE11-D72774C9D5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B8BFF2-BB4C-4063-A35F-282492645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A88D3A-D109-400A-A17B-A05354B3C4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9EA05-B050-4C29-AB71-133F76D4D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9E7BAC-6185-4808-9AE8-6C3701737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BF8CC1-9B1F-43A8-AD82-8326E77E0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2247DE-4817-4245-89F4-7B3DBA4DD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274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288283C-95F9-4B18-9C56-FAA390B467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161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288283C-95F9-4B18-9C56-FAA390B467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5ABB5BE-7386-4858-9F83-57B053427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0BA6-F3F6-4F18-86EF-1AD981A33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AA915E-4F88-41A0-920F-93EAF50BE5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29918-1BC8-4C07-9D2C-23E0D38F4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706F8D-30CC-4167-8A9D-67F5BE5CC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A495D6-4DC2-4041-B2F1-8C307A861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2AF55-EFF2-4058-A6C0-CDE7EA01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92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oleObject" Target="../embeddings/oleObject20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vmlDrawing" Target="../drawings/vmlDrawing2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3E66CE-AE5E-40F6-816B-1A5CD77156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921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3E66CE-AE5E-40F6-816B-1A5CD7715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C9F68A-4408-4CC4-91C4-31BF604EC7F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CCA3EB-EFE4-4DDA-91C0-0894B58EC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3CA35D-1925-4FCD-8B44-66C707705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B9CFC5-B55D-446F-817F-28F3C1DA3C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437510-742F-43E4-936A-63C6E44E81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5F8FB-ED0F-4961-9718-5111083C80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20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892286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13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1478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894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12" Type="http://schemas.openxmlformats.org/officeDocument/2006/relationships/image" Target="../media/image18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slideLayout" Target="../slideLayouts/slideLayout14.xml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image" Target="../media/image2.emf"/><Relationship Id="rId1" Type="http://schemas.openxmlformats.org/officeDocument/2006/relationships/vmlDrawing" Target="../drawings/vmlDrawing34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oleObject" Target="../embeddings/oleObject34.bin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007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FUNDING REQUIREMENT ANALYSI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Introduction</a:t>
            </a:r>
            <a:endParaRPr lang="en-GB" dirty="0"/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1" y="2468192"/>
            <a:ext cx="958478" cy="1097234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753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3DDD6C-880D-4869-9256-75757BB6798F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E3E0BE-DEE9-4F3C-A00A-2A11EAF6B628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95EB43-707C-4A19-B3BD-FD2E9634AE63}"/>
              </a:ext>
            </a:extLst>
          </p:cNvPr>
          <p:cNvSpPr/>
          <p:nvPr/>
        </p:nvSpPr>
        <p:spPr>
          <a:xfrm>
            <a:off x="7064974" y="1341120"/>
            <a:ext cx="4584482" cy="27936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E5803CF-5C08-4279-AD0D-258DCE0847E6}"/>
              </a:ext>
            </a:extLst>
          </p:cNvPr>
          <p:cNvSpPr/>
          <p:nvPr/>
        </p:nvSpPr>
        <p:spPr>
          <a:xfrm>
            <a:off x="6602049" y="1341121"/>
            <a:ext cx="353483" cy="2793600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51FFCC-A8A3-4044-B95E-ABDC0549F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9733" y="2897528"/>
            <a:ext cx="5182130" cy="3325473"/>
          </a:xfrm>
        </p:spPr>
        <p:txBody>
          <a:bodyPr lIns="72000" tIns="72000" rIns="72000" bIns="72000"/>
          <a:lstStyle/>
          <a:p>
            <a:pPr marL="228600" indent="-228600">
              <a:buAutoNum type="arabicPeriod"/>
            </a:pPr>
            <a:r>
              <a:rPr lang="en-GB" sz="1200" dirty="0">
                <a:latin typeface="Georgia" panose="02040502050405020303" pitchFamily="18" charset="0"/>
              </a:rPr>
              <a:t>Mark the business model you are considering to implement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>
              <a:latin typeface="Georgia" panose="02040502050405020303" pitchFamily="18" charset="0"/>
            </a:endParaRPr>
          </a:p>
          <a:p>
            <a:pPr marL="228600" indent="-228600">
              <a:buAutoNum type="arabicPeriod"/>
            </a:pPr>
            <a:r>
              <a:rPr lang="en-GB" sz="1200" dirty="0"/>
              <a:t>Reflect on</a:t>
            </a:r>
          </a:p>
          <a:p>
            <a:pPr marL="234943" lvl="1" indent="0">
              <a:buNone/>
            </a:pPr>
            <a:r>
              <a:rPr lang="en-GB" sz="1200" dirty="0">
                <a:latin typeface="Georgia" panose="02040502050405020303" pitchFamily="18" charset="0"/>
              </a:rPr>
              <a:t>a) The type of investments required</a:t>
            </a:r>
          </a:p>
          <a:p>
            <a:pPr marL="234943" lvl="1" indent="0">
              <a:buNone/>
            </a:pPr>
            <a:r>
              <a:rPr lang="en-GB" sz="1200" dirty="0"/>
              <a:t>b) The amount of investments needed</a:t>
            </a:r>
          </a:p>
          <a:p>
            <a:pPr marL="234943" lvl="1" indent="0">
              <a:buNone/>
            </a:pPr>
            <a:r>
              <a:rPr lang="en-GB" sz="1200" dirty="0">
                <a:latin typeface="Georgia" panose="02040502050405020303" pitchFamily="18" charset="0"/>
              </a:rPr>
              <a:t>c) The share of </a:t>
            </a:r>
            <a:r>
              <a:rPr lang="en-GB" sz="1200" dirty="0"/>
              <a:t>external financing required</a:t>
            </a:r>
          </a:p>
          <a:p>
            <a:pPr marL="228600" indent="-228600">
              <a:buAutoNum type="arabicPeriod"/>
            </a:pPr>
            <a:r>
              <a:rPr lang="en-GB" sz="1200" dirty="0">
                <a:latin typeface="Georgia" panose="02040502050405020303" pitchFamily="18" charset="0"/>
              </a:rPr>
              <a:t>Describe the appropriate funding in</a:t>
            </a:r>
            <a:r>
              <a:rPr lang="en-GB" sz="1200" dirty="0"/>
              <a:t>strument for your cause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r>
              <a:rPr lang="en-GB" sz="1200" dirty="0">
                <a:latin typeface="Georgia" panose="02040502050405020303" pitchFamily="18" charset="0"/>
              </a:rPr>
              <a:t>Identify the funding partner</a:t>
            </a:r>
            <a:r>
              <a:rPr lang="en-GB" sz="1200" dirty="0"/>
              <a:t>(s) you could approach for funding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r>
              <a:rPr lang="en-GB" sz="1200" dirty="0">
                <a:latin typeface="Georgia" panose="02040502050405020303" pitchFamily="18" charset="0"/>
              </a:rPr>
              <a:t>Lis</a:t>
            </a:r>
            <a:r>
              <a:rPr lang="en-GB" sz="1200" dirty="0"/>
              <a:t>t activities required to finance the circular business model at your company</a:t>
            </a:r>
            <a:endParaRPr lang="en-GB" sz="1200" dirty="0"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Funding requirement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859FDA-352C-4F50-B0B4-4FBBFE43F522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0D7EFB9A-CA2B-4BF7-BC4A-9BDC1F101359}"/>
              </a:ext>
            </a:extLst>
          </p:cNvPr>
          <p:cNvSpPr txBox="1">
            <a:spLocks/>
          </p:cNvSpPr>
          <p:nvPr/>
        </p:nvSpPr>
        <p:spPr>
          <a:xfrm>
            <a:off x="829733" y="1341120"/>
            <a:ext cx="5182130" cy="143594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The funding requirement analysis tool helps you to reflect on the funding requirements of your circular business idea, and the activities related to them.</a:t>
            </a: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239178" marR="0" lvl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1422AB-95B1-498B-8A54-43EEA44FEE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66556" y="1561924"/>
            <a:ext cx="4181317" cy="235199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AF655F4-DF10-488C-9A9D-B5BB3B0BBCF4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24332F-54BF-4454-907C-43ED8F2C4E5C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CD712D-EDF2-4A4C-9E3B-77F22843226E}"/>
              </a:ext>
            </a:extLst>
          </p:cNvPr>
          <p:cNvSpPr txBox="1"/>
          <p:nvPr/>
        </p:nvSpPr>
        <p:spPr>
          <a:xfrm>
            <a:off x="7170569" y="4331839"/>
            <a:ext cx="2171324" cy="27428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hapter 5: How to design the transformation journey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48207E-04C0-4C6E-913F-31DBEE0A4324}"/>
              </a:ext>
            </a:extLst>
          </p:cNvPr>
          <p:cNvSpPr txBox="1"/>
          <p:nvPr/>
        </p:nvSpPr>
        <p:spPr>
          <a:xfrm>
            <a:off x="9689910" y="4331839"/>
            <a:ext cx="1757963" cy="274280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Value case too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164729-AB21-4C63-9959-9C8BB21334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65827" y="4737517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C7B4458-A4A4-45C6-8C17-AA5F44EB2E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37190" y="4881110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3C53B7B-4F65-4AF2-90BA-12F7F22AE96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08553" y="5024702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606376E-4A4A-4DCE-A87A-81BF951C96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95475" y="4610219"/>
            <a:ext cx="1398896" cy="76939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76D7EC0-2518-41CA-BB0E-CA5419D8859D}"/>
              </a:ext>
            </a:extLst>
          </p:cNvPr>
          <p:cNvSpPr txBox="1"/>
          <p:nvPr/>
        </p:nvSpPr>
        <p:spPr>
          <a:xfrm>
            <a:off x="9689910" y="5440288"/>
            <a:ext cx="1562669" cy="2871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i-FI" sz="900" b="0" i="0" dirty="0" err="1">
                <a:latin typeface="Georgia" panose="02040502050405020303" pitchFamily="18" charset="0"/>
              </a:rPr>
              <a:t>Calculate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high-level</a:t>
            </a:r>
            <a:r>
              <a:rPr lang="fi-FI" sz="900" b="0" i="0" dirty="0">
                <a:latin typeface="Georgia" panose="02040502050405020303" pitchFamily="18" charset="0"/>
              </a:rPr>
              <a:t> business case to </a:t>
            </a:r>
            <a:r>
              <a:rPr lang="fi-FI" sz="900" b="0" i="0" dirty="0" err="1">
                <a:latin typeface="Georgia" panose="02040502050405020303" pitchFamily="18" charset="0"/>
              </a:rPr>
              <a:t>underdtand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funding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requirements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3AD3F45-C73E-4CB1-850A-0BA5F6DE7449}"/>
              </a:ext>
            </a:extLst>
          </p:cNvPr>
          <p:cNvSpPr txBox="1"/>
          <p:nvPr/>
        </p:nvSpPr>
        <p:spPr>
          <a:xfrm>
            <a:off x="7165827" y="5679626"/>
            <a:ext cx="2176066" cy="2871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i-FI" sz="900" b="0" i="0" dirty="0">
                <a:latin typeface="Georgia" panose="02040502050405020303" pitchFamily="18" charset="0"/>
              </a:rPr>
              <a:t>Key </a:t>
            </a:r>
            <a:r>
              <a:rPr lang="fi-FI" sz="900" b="0" i="0" dirty="0" err="1">
                <a:latin typeface="Georgia" panose="02040502050405020303" pitchFamily="18" charset="0"/>
              </a:rPr>
              <a:t>barriers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related</a:t>
            </a:r>
            <a:r>
              <a:rPr lang="fi-FI" sz="900" b="0" i="0" dirty="0">
                <a:latin typeface="Georgia" panose="02040502050405020303" pitchFamily="18" charset="0"/>
              </a:rPr>
              <a:t> to </a:t>
            </a:r>
            <a:r>
              <a:rPr lang="fi-FI" sz="900" b="0" i="0" dirty="0" err="1">
                <a:latin typeface="Georgia" panose="02040502050405020303" pitchFamily="18" charset="0"/>
              </a:rPr>
              <a:t>financing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circular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models</a:t>
            </a:r>
            <a:r>
              <a:rPr lang="fi-FI" sz="900" b="0" i="0" dirty="0">
                <a:latin typeface="Georgia" panose="02040502050405020303" pitchFamily="18" charset="0"/>
              </a:rPr>
              <a:t> and </a:t>
            </a:r>
            <a:r>
              <a:rPr lang="fi-FI" sz="900" b="0" i="0" dirty="0" err="1">
                <a:latin typeface="Georgia" panose="02040502050405020303" pitchFamily="18" charset="0"/>
              </a:rPr>
              <a:t>ways</a:t>
            </a:r>
            <a:r>
              <a:rPr lang="fi-FI" sz="900" b="0" i="0" dirty="0">
                <a:latin typeface="Georgia" panose="02040502050405020303" pitchFamily="18" charset="0"/>
              </a:rPr>
              <a:t> to </a:t>
            </a:r>
            <a:r>
              <a:rPr lang="fi-FI" sz="900" b="0" i="0" dirty="0" err="1">
                <a:latin typeface="Georgia" panose="02040502050405020303" pitchFamily="18" charset="0"/>
              </a:rPr>
              <a:t>overcome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them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F89634-4D71-40F8-B489-D905FB4DEB39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fi-FI" sz="800" b="0" i="1" dirty="0" err="1">
                <a:latin typeface="Georgia" panose="02040502050405020303" pitchFamily="18" charset="0"/>
              </a:rPr>
              <a:t>Illustrative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laybook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ages</a:t>
            </a:r>
            <a:r>
              <a:rPr lang="fi-FI" sz="800" b="0" i="1" dirty="0">
                <a:latin typeface="Georgia" panose="02040502050405020303" pitchFamily="18" charset="0"/>
              </a:rPr>
              <a:t> – </a:t>
            </a:r>
            <a:r>
              <a:rPr lang="fi-FI" sz="800" i="1" dirty="0" err="1">
                <a:latin typeface="Georgia" panose="02040502050405020303" pitchFamily="18" charset="0"/>
              </a:rPr>
              <a:t>pleas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refer</a:t>
            </a:r>
            <a:r>
              <a:rPr lang="fi-FI" sz="800" i="1" dirty="0">
                <a:latin typeface="Georgia" panose="02040502050405020303" pitchFamily="18" charset="0"/>
              </a:rPr>
              <a:t> to </a:t>
            </a:r>
            <a:r>
              <a:rPr lang="fi-FI" sz="800" i="1" dirty="0" err="1">
                <a:latin typeface="Georgia" panose="02040502050405020303" pitchFamily="18" charset="0"/>
              </a:rPr>
              <a:t>th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entir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chapter</a:t>
            </a:r>
            <a:r>
              <a:rPr lang="fi-FI" sz="800" i="1" dirty="0">
                <a:latin typeface="Georgia" panose="02040502050405020303" pitchFamily="18" charset="0"/>
              </a:rPr>
              <a:t> for </a:t>
            </a:r>
            <a:r>
              <a:rPr lang="fi-FI" sz="800" i="1" dirty="0" err="1">
                <a:latin typeface="Georgia" panose="02040502050405020303" pitchFamily="18" charset="0"/>
              </a:rPr>
              <a:t>support</a:t>
            </a:r>
            <a:r>
              <a:rPr lang="fi-FI" sz="800" i="1" dirty="0">
                <a:latin typeface="Georgia" panose="02040502050405020303" pitchFamily="18" charset="0"/>
              </a:rPr>
              <a:t>.</a:t>
            </a:r>
            <a:endParaRPr lang="fi-FI" sz="800" b="0" i="1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8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760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A4ED31-E1F1-479A-8CD1-B13548EBC4D7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Funding requirement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XAMP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CC22168-5B03-4343-8FC1-493AF0510A11}"/>
              </a:ext>
            </a:extLst>
          </p:cNvPr>
          <p:cNvGrpSpPr/>
          <p:nvPr/>
        </p:nvGrpSpPr>
        <p:grpSpPr>
          <a:xfrm>
            <a:off x="896644" y="1500326"/>
            <a:ext cx="8291941" cy="4579226"/>
            <a:chOff x="853175" y="1398097"/>
            <a:chExt cx="8433065" cy="4743599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E452B92-A939-470D-A224-BA8BBCD93C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3175" y="1398097"/>
              <a:ext cx="8433065" cy="4743599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0254488-DA6E-4200-AA32-5CB1A072C914}"/>
                </a:ext>
              </a:extLst>
            </p:cNvPr>
            <p:cNvSpPr/>
            <p:nvPr/>
          </p:nvSpPr>
          <p:spPr>
            <a:xfrm>
              <a:off x="7464214" y="2262295"/>
              <a:ext cx="1327573" cy="12259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GB" sz="900"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Finalise business case calculations to understand funding need</a:t>
              </a:r>
            </a:p>
            <a:p>
              <a:pPr marL="171450" indent="-171450" algn="l">
                <a:buFont typeface="Arial" panose="020B0604020202020204" pitchFamily="34" charset="0"/>
                <a:buChar char="•"/>
              </a:pPr>
              <a:r>
                <a:rPr lang="en-GB" sz="900"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Apply for funding from Business Finland</a:t>
              </a:r>
              <a:endPara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730B1FD-50CD-414B-BF54-41D2314B0C48}"/>
                </a:ext>
              </a:extLst>
            </p:cNvPr>
            <p:cNvSpPr/>
            <p:nvPr/>
          </p:nvSpPr>
          <p:spPr>
            <a:xfrm>
              <a:off x="1161628" y="5238660"/>
              <a:ext cx="1330959" cy="41656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GB" sz="900"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Business Finland</a:t>
              </a:r>
              <a:endPara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88FD18-E0C9-4CE9-8ECA-B0B4332C53DB}"/>
                </a:ext>
              </a:extLst>
            </p:cNvPr>
            <p:cNvSpPr/>
            <p:nvPr/>
          </p:nvSpPr>
          <p:spPr>
            <a:xfrm>
              <a:off x="1161628" y="4721014"/>
              <a:ext cx="3112769" cy="26416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GB" sz="900"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search grant</a:t>
              </a:r>
              <a:endPara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Multiplication Sign 9">
              <a:extLst>
                <a:ext uri="{FF2B5EF4-FFF2-40B4-BE49-F238E27FC236}">
                  <a16:creationId xmlns:a16="http://schemas.microsoft.com/office/drawing/2014/main" id="{75CDA54F-EBC3-482E-BD83-DCDB4C6D452D}"/>
                </a:ext>
              </a:extLst>
            </p:cNvPr>
            <p:cNvSpPr/>
            <p:nvPr/>
          </p:nvSpPr>
          <p:spPr>
            <a:xfrm>
              <a:off x="2892213" y="4015587"/>
              <a:ext cx="182881" cy="186070"/>
            </a:xfrm>
            <a:prstGeom prst="mathMultiply">
              <a:avLst/>
            </a:prstGeom>
            <a:solidFill>
              <a:schemeClr val="tx1"/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Multiplication Sign 14">
              <a:extLst>
                <a:ext uri="{FF2B5EF4-FFF2-40B4-BE49-F238E27FC236}">
                  <a16:creationId xmlns:a16="http://schemas.microsoft.com/office/drawing/2014/main" id="{246C977C-2D67-4EE7-A57B-AAED7F0588A7}"/>
                </a:ext>
              </a:extLst>
            </p:cNvPr>
            <p:cNvSpPr/>
            <p:nvPr/>
          </p:nvSpPr>
          <p:spPr>
            <a:xfrm>
              <a:off x="4568613" y="3829517"/>
              <a:ext cx="182881" cy="186070"/>
            </a:xfrm>
            <a:prstGeom prst="mathMultiply">
              <a:avLst/>
            </a:prstGeom>
            <a:solidFill>
              <a:schemeClr val="tx1"/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3B9CF0-742B-4FC5-8903-0A6A0F883B1B}"/>
                </a:ext>
              </a:extLst>
            </p:cNvPr>
            <p:cNvSpPr txBox="1"/>
            <p:nvPr/>
          </p:nvSpPr>
          <p:spPr>
            <a:xfrm>
              <a:off x="6483773" y="3583049"/>
              <a:ext cx="419947" cy="19901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algn="ctr"/>
              <a:r>
                <a:rPr lang="en-GB" sz="1200" b="1" i="0">
                  <a:latin typeface="Georgia" panose="02040502050405020303" pitchFamily="18" charset="0"/>
                </a:rPr>
                <a:t>50</a:t>
              </a:r>
              <a:endParaRPr lang="en-GB" sz="1200" b="1" i="0" dirty="0">
                <a:latin typeface="Georgia" panose="02040502050405020303" pitchFamily="18" charset="0"/>
              </a:endParaRPr>
            </a:p>
          </p:txBody>
        </p:sp>
        <p:sp>
          <p:nvSpPr>
            <p:cNvPr id="16" name="Multiplication Sign 15">
              <a:extLst>
                <a:ext uri="{FF2B5EF4-FFF2-40B4-BE49-F238E27FC236}">
                  <a16:creationId xmlns:a16="http://schemas.microsoft.com/office/drawing/2014/main" id="{98C288B8-F4E8-45C8-871D-2CD9ED2C0A21}"/>
                </a:ext>
              </a:extLst>
            </p:cNvPr>
            <p:cNvSpPr/>
            <p:nvPr/>
          </p:nvSpPr>
          <p:spPr>
            <a:xfrm>
              <a:off x="2695786" y="2019570"/>
              <a:ext cx="182881" cy="186070"/>
            </a:xfrm>
            <a:prstGeom prst="mathMultiply">
              <a:avLst/>
            </a:prstGeom>
            <a:solidFill>
              <a:schemeClr val="tx1"/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GB" sz="9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5044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418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FUNDING REQUIREMENT ANALYSI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Tool</a:t>
            </a:r>
            <a:endParaRPr lang="en-GB" dirty="0"/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1" y="2468192"/>
            <a:ext cx="958478" cy="1097234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4483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2172BF-081F-4EED-8911-50FD529383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7534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28" imgW="493" imgH="493" progId="TCLayout.ActiveDocument.1">
                  <p:embed/>
                </p:oleObj>
              </mc:Choice>
              <mc:Fallback>
                <p:oleObj name="think-cell Slide" r:id="rId28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2172BF-081F-4EED-8911-50FD529383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18F3E8-6885-4AC1-BDD2-DBC5E26F00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800" y="6319135"/>
            <a:ext cx="11328400" cy="19248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1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713038" y="9715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2" name="Textplatzhalter 21">
            <a:extLst>
              <a:ext uri="{FF2B5EF4-FFF2-40B4-BE49-F238E27FC236}">
                <a16:creationId xmlns:a16="http://schemas.microsoft.com/office/drawing/2014/main" id="{34732836-AE8F-4E66-927B-8211E53C80A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13038" y="14398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3" name="Textplatzhalter 21">
            <a:extLst>
              <a:ext uri="{FF2B5EF4-FFF2-40B4-BE49-F238E27FC236}">
                <a16:creationId xmlns:a16="http://schemas.microsoft.com/office/drawing/2014/main" id="{48497E5A-08ED-41D7-AB41-96F86B81948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13038" y="19097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4" name="Textplatzhalter 21">
            <a:extLst>
              <a:ext uri="{FF2B5EF4-FFF2-40B4-BE49-F238E27FC236}">
                <a16:creationId xmlns:a16="http://schemas.microsoft.com/office/drawing/2014/main" id="{121341EA-2A71-4DAF-A7FE-4F4D9521C2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16563" y="9810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5" name="Textplatzhalter 21">
            <a:extLst>
              <a:ext uri="{FF2B5EF4-FFF2-40B4-BE49-F238E27FC236}">
                <a16:creationId xmlns:a16="http://schemas.microsoft.com/office/drawing/2014/main" id="{8468469E-3701-4082-A844-A5E860D7469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90633" y="1263651"/>
            <a:ext cx="213784" cy="213784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86" name="Textplatzhalter 21">
            <a:extLst>
              <a:ext uri="{FF2B5EF4-FFF2-40B4-BE49-F238E27FC236}">
                <a16:creationId xmlns:a16="http://schemas.microsoft.com/office/drawing/2014/main" id="{679D4D03-3464-489B-ADF5-EB8BDE09909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16563" y="160178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1" name="Textplatzhalter 21">
            <a:extLst>
              <a:ext uri="{FF2B5EF4-FFF2-40B4-BE49-F238E27FC236}">
                <a16:creationId xmlns:a16="http://schemas.microsoft.com/office/drawing/2014/main" id="{3DC9B8AC-1313-4710-9346-C87A8927982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87675" y="30511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4" name="Textplatzhalter 21">
            <a:extLst>
              <a:ext uri="{FF2B5EF4-FFF2-40B4-BE49-F238E27FC236}">
                <a16:creationId xmlns:a16="http://schemas.microsoft.com/office/drawing/2014/main" id="{203AFCBE-A1CC-455A-A8CD-5F77471840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87675" y="357028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95" name="Textplatzhalter 21">
            <a:extLst>
              <a:ext uri="{FF2B5EF4-FFF2-40B4-BE49-F238E27FC236}">
                <a16:creationId xmlns:a16="http://schemas.microsoft.com/office/drawing/2014/main" id="{EF2942F3-290A-4A22-8874-43BB4561BC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87675" y="3830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0" name="Textplatzhalter 21">
            <a:extLst>
              <a:ext uri="{FF2B5EF4-FFF2-40B4-BE49-F238E27FC236}">
                <a16:creationId xmlns:a16="http://schemas.microsoft.com/office/drawing/2014/main" id="{3C35B7B4-1606-4A95-B8B6-A3609AFE3F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987675" y="331152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1" name="Textplatzhalter 21">
            <a:extLst>
              <a:ext uri="{FF2B5EF4-FFF2-40B4-BE49-F238E27FC236}">
                <a16:creationId xmlns:a16="http://schemas.microsoft.com/office/drawing/2014/main" id="{6A2A76C1-352A-4237-B5C3-CFF05091BD0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21313" y="30511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2" name="Textplatzhalter 21">
            <a:extLst>
              <a:ext uri="{FF2B5EF4-FFF2-40B4-BE49-F238E27FC236}">
                <a16:creationId xmlns:a16="http://schemas.microsoft.com/office/drawing/2014/main" id="{2E8E036B-7826-412D-B1D5-3F75CA531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21313" y="357028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3" name="Textplatzhalter 21">
            <a:extLst>
              <a:ext uri="{FF2B5EF4-FFF2-40B4-BE49-F238E27FC236}">
                <a16:creationId xmlns:a16="http://schemas.microsoft.com/office/drawing/2014/main" id="{91215CCE-AE3E-43CC-A5B6-F59AB3F284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21313" y="3830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5" name="Textplatzhalter 21">
            <a:extLst>
              <a:ext uri="{FF2B5EF4-FFF2-40B4-BE49-F238E27FC236}">
                <a16:creationId xmlns:a16="http://schemas.microsoft.com/office/drawing/2014/main" id="{C8FE520F-ABEB-4658-846E-69CDDD976F1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21313" y="331152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6" name="Textplatzhalter 21">
            <a:extLst>
              <a:ext uri="{FF2B5EF4-FFF2-40B4-BE49-F238E27FC236}">
                <a16:creationId xmlns:a16="http://schemas.microsoft.com/office/drawing/2014/main" id="{6C7FFF53-2C06-42E6-B9AA-F3B08D96970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273925" y="30511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7" name="Textplatzhalter 21">
            <a:extLst>
              <a:ext uri="{FF2B5EF4-FFF2-40B4-BE49-F238E27FC236}">
                <a16:creationId xmlns:a16="http://schemas.microsoft.com/office/drawing/2014/main" id="{4A6213C0-2927-46DF-B3C1-97851B9DD28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21313" y="40894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0" name="Textplatzhalter 21">
            <a:extLst>
              <a:ext uri="{FF2B5EF4-FFF2-40B4-BE49-F238E27FC236}">
                <a16:creationId xmlns:a16="http://schemas.microsoft.com/office/drawing/2014/main" id="{7A1F6ECA-300F-4A8D-8F53-0359092FB41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273925" y="331152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2" name="Textplatzhalter 21">
            <a:extLst>
              <a:ext uri="{FF2B5EF4-FFF2-40B4-BE49-F238E27FC236}">
                <a16:creationId xmlns:a16="http://schemas.microsoft.com/office/drawing/2014/main" id="{26F0F25F-F729-4992-9824-1BCFFF22421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987675" y="40894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FBFE88-E633-4B7C-BCDA-4912A0043744}"/>
              </a:ext>
            </a:extLst>
          </p:cNvPr>
          <p:cNvGrpSpPr/>
          <p:nvPr/>
        </p:nvGrpSpPr>
        <p:grpSpPr>
          <a:xfrm>
            <a:off x="431800" y="24713"/>
            <a:ext cx="11336253" cy="6184483"/>
            <a:chOff x="431800" y="24713"/>
            <a:chExt cx="11336253" cy="61844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CC7AA8C-5C20-4072-B922-144889C0C892}"/>
                </a:ext>
              </a:extLst>
            </p:cNvPr>
            <p:cNvSpPr>
              <a:spLocks/>
            </p:cNvSpPr>
            <p:nvPr/>
          </p:nvSpPr>
          <p:spPr>
            <a:xfrm>
              <a:off x="9415849" y="517004"/>
              <a:ext cx="2352204" cy="5692192"/>
            </a:xfrm>
            <a:prstGeom prst="rect">
              <a:avLst/>
            </a:prstGeom>
            <a:solidFill>
              <a:srgbClr val="F2F2F2"/>
            </a:solidFill>
          </p:spPr>
          <p:txBody>
  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What activities are required to finance the circular business model at your company?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F88929-8ADE-40FF-BA1B-7F190E7C16ED}"/>
                </a:ext>
              </a:extLst>
            </p:cNvPr>
            <p:cNvSpPr txBox="1"/>
            <p:nvPr/>
          </p:nvSpPr>
          <p:spPr>
            <a:xfrm>
              <a:off x="440897" y="24713"/>
              <a:ext cx="7936985" cy="517004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Funding requirement analysis</a:t>
              </a:r>
            </a:p>
          </p:txBody>
        </p:sp>
        <p:sp>
          <p:nvSpPr>
            <p:cNvPr id="14" name="Rectangle: Rounded Corners 131">
              <a:extLst>
                <a:ext uri="{FF2B5EF4-FFF2-40B4-BE49-F238E27FC236}">
                  <a16:creationId xmlns:a16="http://schemas.microsoft.com/office/drawing/2014/main" id="{3DC46EC9-F633-417D-94DA-4655B6DD9C0C}"/>
                </a:ext>
              </a:extLst>
            </p:cNvPr>
            <p:cNvSpPr/>
            <p:nvPr/>
          </p:nvSpPr>
          <p:spPr>
            <a:xfrm>
              <a:off x="984251" y="931333"/>
              <a:ext cx="1656000" cy="240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Build to last</a:t>
              </a:r>
            </a:p>
          </p:txBody>
        </p:sp>
        <p:sp>
          <p:nvSpPr>
            <p:cNvPr id="15" name="Rectangle: Rounded Corners 131">
              <a:extLst>
                <a:ext uri="{FF2B5EF4-FFF2-40B4-BE49-F238E27FC236}">
                  <a16:creationId xmlns:a16="http://schemas.microsoft.com/office/drawing/2014/main" id="{7D9E403C-B4C1-4543-A692-34950431E4E9}"/>
                </a:ext>
              </a:extLst>
            </p:cNvPr>
            <p:cNvSpPr/>
            <p:nvPr/>
          </p:nvSpPr>
          <p:spPr>
            <a:xfrm>
              <a:off x="984251" y="1403351"/>
              <a:ext cx="1656000" cy="240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ircular Supplies</a:t>
              </a:r>
            </a:p>
          </p:txBody>
        </p:sp>
        <p:sp>
          <p:nvSpPr>
            <p:cNvPr id="16" name="Rectangle: Rounded Corners 131">
              <a:extLst>
                <a:ext uri="{FF2B5EF4-FFF2-40B4-BE49-F238E27FC236}">
                  <a16:creationId xmlns:a16="http://schemas.microsoft.com/office/drawing/2014/main" id="{E05DEEB3-955B-4D7E-AFCF-831CBD846526}"/>
                </a:ext>
              </a:extLst>
            </p:cNvPr>
            <p:cNvSpPr/>
            <p:nvPr/>
          </p:nvSpPr>
          <p:spPr>
            <a:xfrm>
              <a:off x="984251" y="1871133"/>
              <a:ext cx="1656000" cy="24000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Share</a:t>
              </a:r>
            </a:p>
          </p:txBody>
        </p:sp>
        <p:sp>
          <p:nvSpPr>
            <p:cNvPr id="17" name="Rectangle: Rounded Corners 131">
              <a:extLst>
                <a:ext uri="{FF2B5EF4-FFF2-40B4-BE49-F238E27FC236}">
                  <a16:creationId xmlns:a16="http://schemas.microsoft.com/office/drawing/2014/main" id="{880AC8CA-3164-476C-96A6-83447563BC63}"/>
                </a:ext>
              </a:extLst>
            </p:cNvPr>
            <p:cNvSpPr/>
            <p:nvPr/>
          </p:nvSpPr>
          <p:spPr>
            <a:xfrm>
              <a:off x="3776133" y="931333"/>
              <a:ext cx="1656000" cy="24000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Repair &amp; Maintain</a:t>
              </a:r>
            </a:p>
          </p:txBody>
        </p:sp>
        <p:sp>
          <p:nvSpPr>
            <p:cNvPr id="18" name="Rectangle: Rounded Corners 131">
              <a:extLst>
                <a:ext uri="{FF2B5EF4-FFF2-40B4-BE49-F238E27FC236}">
                  <a16:creationId xmlns:a16="http://schemas.microsoft.com/office/drawing/2014/main" id="{08C2C185-3905-458E-BA76-2E7C1CA4B52F}"/>
                </a:ext>
              </a:extLst>
            </p:cNvPr>
            <p:cNvSpPr/>
            <p:nvPr/>
          </p:nvSpPr>
          <p:spPr>
            <a:xfrm>
              <a:off x="3776133" y="1557867"/>
              <a:ext cx="1656000" cy="24000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Resell</a:t>
              </a:r>
            </a:p>
          </p:txBody>
        </p:sp>
        <p:sp>
          <p:nvSpPr>
            <p:cNvPr id="19" name="Rectangle: Rounded Corners 131">
              <a:extLst>
                <a:ext uri="{FF2B5EF4-FFF2-40B4-BE49-F238E27FC236}">
                  <a16:creationId xmlns:a16="http://schemas.microsoft.com/office/drawing/2014/main" id="{A5E23585-0D51-49C6-9188-0C2B261224D8}"/>
                </a:ext>
              </a:extLst>
            </p:cNvPr>
            <p:cNvSpPr/>
            <p:nvPr/>
          </p:nvSpPr>
          <p:spPr>
            <a:xfrm>
              <a:off x="3776133" y="1871133"/>
              <a:ext cx="1656000" cy="24000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Remanufacture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3337A57-04E2-4C69-9C35-8EDF48AFD815}"/>
                </a:ext>
              </a:extLst>
            </p:cNvPr>
            <p:cNvGrpSpPr/>
            <p:nvPr/>
          </p:nvGrpSpPr>
          <p:grpSpPr>
            <a:xfrm>
              <a:off x="6898217" y="931333"/>
              <a:ext cx="1656000" cy="553267"/>
              <a:chOff x="5173663" y="698500"/>
              <a:chExt cx="1242000" cy="414950"/>
            </a:xfrm>
          </p:grpSpPr>
          <p:sp>
            <p:nvSpPr>
              <p:cNvPr id="20" name="Rectangle: Rounded Corners 131">
                <a:extLst>
                  <a:ext uri="{FF2B5EF4-FFF2-40B4-BE49-F238E27FC236}">
                    <a16:creationId xmlns:a16="http://schemas.microsoft.com/office/drawing/2014/main" id="{65C091F0-07BC-44FB-995F-4BF656A27674}"/>
                  </a:ext>
                </a:extLst>
              </p:cNvPr>
              <p:cNvSpPr/>
              <p:nvPr/>
            </p:nvSpPr>
            <p:spPr>
              <a:xfrm>
                <a:off x="5173663" y="698500"/>
                <a:ext cx="1242000" cy="180000"/>
              </a:xfrm>
              <a:prstGeom prst="rect">
                <a:avLst/>
              </a:prstGeom>
              <a:solidFill>
                <a:schemeClr val="accent5"/>
              </a:solidFill>
              <a:ln w="1270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Verdana" panose="020B0604030504040204" pitchFamily="34" charset="0"/>
                    <a:cs typeface="Verdana" panose="020B0604030504040204" pitchFamily="34" charset="0"/>
                    <a:sym typeface="Verdana" panose="020B0604030504040204" pitchFamily="34" charset="0"/>
                  </a:rPr>
                  <a:t>Recycle / upcycle</a:t>
                </a:r>
              </a:p>
            </p:txBody>
          </p:sp>
          <p:sp>
            <p:nvSpPr>
              <p:cNvPr id="21" name="Rectangle: Rounded Corners 131">
                <a:extLst>
                  <a:ext uri="{FF2B5EF4-FFF2-40B4-BE49-F238E27FC236}">
                    <a16:creationId xmlns:a16="http://schemas.microsoft.com/office/drawing/2014/main" id="{AA3DC448-3FDC-42F6-A120-8BF5195B1209}"/>
                  </a:ext>
                </a:extLst>
              </p:cNvPr>
              <p:cNvSpPr/>
              <p:nvPr/>
            </p:nvSpPr>
            <p:spPr>
              <a:xfrm>
                <a:off x="5173663" y="933450"/>
                <a:ext cx="1242000" cy="180000"/>
              </a:xfrm>
              <a:prstGeom prst="rect">
                <a:avLst/>
              </a:prstGeom>
              <a:solidFill>
                <a:schemeClr val="accent5"/>
              </a:solidFill>
              <a:ln w="1270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Verdana" panose="020B0604030504040204" pitchFamily="34" charset="0"/>
                    <a:cs typeface="Verdana" panose="020B0604030504040204" pitchFamily="34" charset="0"/>
                    <a:sym typeface="Verdana" panose="020B0604030504040204" pitchFamily="34" charset="0"/>
                  </a:rPr>
                  <a:t>Return</a:t>
                </a:r>
              </a:p>
            </p:txBody>
          </p:sp>
        </p:grpSp>
        <p:sp>
          <p:nvSpPr>
            <p:cNvPr id="22" name="Rectangle: Rounded Corners 131">
              <a:extLst>
                <a:ext uri="{FF2B5EF4-FFF2-40B4-BE49-F238E27FC236}">
                  <a16:creationId xmlns:a16="http://schemas.microsoft.com/office/drawing/2014/main" id="{E626B015-98F7-4CA7-9FDF-40DFD6DBD080}"/>
                </a:ext>
              </a:extLst>
            </p:cNvPr>
            <p:cNvSpPr/>
            <p:nvPr/>
          </p:nvSpPr>
          <p:spPr>
            <a:xfrm>
              <a:off x="6898217" y="1557867"/>
              <a:ext cx="1656000" cy="24000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Product as a Service</a:t>
              </a:r>
            </a:p>
          </p:txBody>
        </p:sp>
        <p:grpSp>
          <p:nvGrpSpPr>
            <p:cNvPr id="32" name="Gruppieren 207">
              <a:extLst>
                <a:ext uri="{FF2B5EF4-FFF2-40B4-BE49-F238E27FC236}">
                  <a16:creationId xmlns:a16="http://schemas.microsoft.com/office/drawing/2014/main" id="{5ED3F519-562C-4E8D-A3D7-03F925BEEE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8367" y="1087275"/>
              <a:ext cx="424908" cy="384000"/>
              <a:chOff x="4558278" y="4090957"/>
              <a:chExt cx="1049008" cy="948016"/>
            </a:xfrm>
            <a:solidFill>
              <a:schemeClr val="accent2"/>
            </a:solidFill>
          </p:grpSpPr>
          <p:sp>
            <p:nvSpPr>
              <p:cNvPr id="33" name="Freeform 202">
                <a:extLst>
                  <a:ext uri="{FF2B5EF4-FFF2-40B4-BE49-F238E27FC236}">
                    <a16:creationId xmlns:a16="http://schemas.microsoft.com/office/drawing/2014/main" id="{905A91F2-22C9-4B5D-B167-02F0108C4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4472" y="4090957"/>
                <a:ext cx="912814" cy="654750"/>
              </a:xfrm>
              <a:custGeom>
                <a:avLst/>
                <a:gdLst>
                  <a:gd name="T0" fmla="*/ 448 w 523"/>
                  <a:gd name="T1" fmla="*/ 375 h 375"/>
                  <a:gd name="T2" fmla="*/ 440 w 523"/>
                  <a:gd name="T3" fmla="*/ 371 h 375"/>
                  <a:gd name="T4" fmla="*/ 374 w 523"/>
                  <a:gd name="T5" fmla="*/ 277 h 375"/>
                  <a:gd name="T6" fmla="*/ 374 w 523"/>
                  <a:gd name="T7" fmla="*/ 267 h 375"/>
                  <a:gd name="T8" fmla="*/ 382 w 523"/>
                  <a:gd name="T9" fmla="*/ 262 h 375"/>
                  <a:gd name="T10" fmla="*/ 400 w 523"/>
                  <a:gd name="T11" fmla="*/ 262 h 375"/>
                  <a:gd name="T12" fmla="*/ 223 w 523"/>
                  <a:gd name="T13" fmla="*/ 93 h 375"/>
                  <a:gd name="T14" fmla="*/ 64 w 523"/>
                  <a:gd name="T15" fmla="*/ 191 h 375"/>
                  <a:gd name="T16" fmla="*/ 47 w 523"/>
                  <a:gd name="T17" fmla="*/ 183 h 375"/>
                  <a:gd name="T18" fmla="*/ 223 w 523"/>
                  <a:gd name="T19" fmla="*/ 75 h 375"/>
                  <a:gd name="T20" fmla="*/ 419 w 523"/>
                  <a:gd name="T21" fmla="*/ 271 h 375"/>
                  <a:gd name="T22" fmla="*/ 410 w 523"/>
                  <a:gd name="T23" fmla="*/ 281 h 375"/>
                  <a:gd name="T24" fmla="*/ 400 w 523"/>
                  <a:gd name="T25" fmla="*/ 281 h 375"/>
                  <a:gd name="T26" fmla="*/ 448 w 523"/>
                  <a:gd name="T27" fmla="*/ 349 h 375"/>
                  <a:gd name="T28" fmla="*/ 495 w 523"/>
                  <a:gd name="T29" fmla="*/ 281 h 375"/>
                  <a:gd name="T30" fmla="*/ 485 w 523"/>
                  <a:gd name="T31" fmla="*/ 281 h 375"/>
                  <a:gd name="T32" fmla="*/ 476 w 523"/>
                  <a:gd name="T33" fmla="*/ 271 h 375"/>
                  <a:gd name="T34" fmla="*/ 223 w 523"/>
                  <a:gd name="T35" fmla="*/ 18 h 375"/>
                  <a:gd name="T36" fmla="*/ 15 w 523"/>
                  <a:gd name="T37" fmla="*/ 127 h 375"/>
                  <a:gd name="T38" fmla="*/ 0 w 523"/>
                  <a:gd name="T39" fmla="*/ 116 h 375"/>
                  <a:gd name="T40" fmla="*/ 223 w 523"/>
                  <a:gd name="T41" fmla="*/ 0 h 375"/>
                  <a:gd name="T42" fmla="*/ 494 w 523"/>
                  <a:gd name="T43" fmla="*/ 262 h 375"/>
                  <a:gd name="T44" fmla="*/ 513 w 523"/>
                  <a:gd name="T45" fmla="*/ 262 h 375"/>
                  <a:gd name="T46" fmla="*/ 521 w 523"/>
                  <a:gd name="T47" fmla="*/ 267 h 375"/>
                  <a:gd name="T48" fmla="*/ 521 w 523"/>
                  <a:gd name="T49" fmla="*/ 277 h 375"/>
                  <a:gd name="T50" fmla="*/ 455 w 523"/>
                  <a:gd name="T51" fmla="*/ 371 h 375"/>
                  <a:gd name="T52" fmla="*/ 448 w 523"/>
                  <a:gd name="T53" fmla="*/ 375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23" h="375">
                    <a:moveTo>
                      <a:pt x="448" y="375"/>
                    </a:moveTo>
                    <a:cubicBezTo>
                      <a:pt x="444" y="375"/>
                      <a:pt x="442" y="373"/>
                      <a:pt x="440" y="371"/>
                    </a:cubicBezTo>
                    <a:cubicBezTo>
                      <a:pt x="374" y="277"/>
                      <a:pt x="374" y="277"/>
                      <a:pt x="374" y="277"/>
                    </a:cubicBezTo>
                    <a:cubicBezTo>
                      <a:pt x="372" y="274"/>
                      <a:pt x="372" y="270"/>
                      <a:pt x="374" y="267"/>
                    </a:cubicBezTo>
                    <a:cubicBezTo>
                      <a:pt x="375" y="264"/>
                      <a:pt x="378" y="262"/>
                      <a:pt x="382" y="262"/>
                    </a:cubicBezTo>
                    <a:cubicBezTo>
                      <a:pt x="400" y="262"/>
                      <a:pt x="400" y="262"/>
                      <a:pt x="400" y="262"/>
                    </a:cubicBezTo>
                    <a:cubicBezTo>
                      <a:pt x="396" y="168"/>
                      <a:pt x="318" y="93"/>
                      <a:pt x="223" y="93"/>
                    </a:cubicBezTo>
                    <a:cubicBezTo>
                      <a:pt x="155" y="93"/>
                      <a:pt x="94" y="131"/>
                      <a:pt x="64" y="191"/>
                    </a:cubicBezTo>
                    <a:cubicBezTo>
                      <a:pt x="47" y="183"/>
                      <a:pt x="47" y="183"/>
                      <a:pt x="47" y="183"/>
                    </a:cubicBezTo>
                    <a:cubicBezTo>
                      <a:pt x="81" y="116"/>
                      <a:pt x="148" y="75"/>
                      <a:pt x="223" y="75"/>
                    </a:cubicBezTo>
                    <a:cubicBezTo>
                      <a:pt x="331" y="75"/>
                      <a:pt x="419" y="163"/>
                      <a:pt x="419" y="271"/>
                    </a:cubicBezTo>
                    <a:cubicBezTo>
                      <a:pt x="419" y="277"/>
                      <a:pt x="415" y="281"/>
                      <a:pt x="410" y="281"/>
                    </a:cubicBezTo>
                    <a:cubicBezTo>
                      <a:pt x="400" y="281"/>
                      <a:pt x="400" y="281"/>
                      <a:pt x="400" y="281"/>
                    </a:cubicBezTo>
                    <a:cubicBezTo>
                      <a:pt x="448" y="349"/>
                      <a:pt x="448" y="349"/>
                      <a:pt x="448" y="349"/>
                    </a:cubicBezTo>
                    <a:cubicBezTo>
                      <a:pt x="495" y="281"/>
                      <a:pt x="495" y="281"/>
                      <a:pt x="495" y="281"/>
                    </a:cubicBezTo>
                    <a:cubicBezTo>
                      <a:pt x="485" y="281"/>
                      <a:pt x="485" y="281"/>
                      <a:pt x="485" y="281"/>
                    </a:cubicBezTo>
                    <a:cubicBezTo>
                      <a:pt x="480" y="281"/>
                      <a:pt x="476" y="277"/>
                      <a:pt x="476" y="271"/>
                    </a:cubicBezTo>
                    <a:cubicBezTo>
                      <a:pt x="476" y="132"/>
                      <a:pt x="362" y="18"/>
                      <a:pt x="223" y="18"/>
                    </a:cubicBezTo>
                    <a:cubicBezTo>
                      <a:pt x="140" y="18"/>
                      <a:pt x="62" y="59"/>
                      <a:pt x="15" y="127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50" y="43"/>
                      <a:pt x="134" y="0"/>
                      <a:pt x="223" y="0"/>
                    </a:cubicBezTo>
                    <a:cubicBezTo>
                      <a:pt x="369" y="0"/>
                      <a:pt x="489" y="117"/>
                      <a:pt x="494" y="262"/>
                    </a:cubicBezTo>
                    <a:cubicBezTo>
                      <a:pt x="513" y="262"/>
                      <a:pt x="513" y="262"/>
                      <a:pt x="513" y="262"/>
                    </a:cubicBezTo>
                    <a:cubicBezTo>
                      <a:pt x="517" y="262"/>
                      <a:pt x="520" y="264"/>
                      <a:pt x="521" y="267"/>
                    </a:cubicBezTo>
                    <a:cubicBezTo>
                      <a:pt x="523" y="270"/>
                      <a:pt x="523" y="274"/>
                      <a:pt x="521" y="277"/>
                    </a:cubicBezTo>
                    <a:cubicBezTo>
                      <a:pt x="455" y="371"/>
                      <a:pt x="455" y="371"/>
                      <a:pt x="455" y="371"/>
                    </a:cubicBezTo>
                    <a:cubicBezTo>
                      <a:pt x="453" y="373"/>
                      <a:pt x="451" y="375"/>
                      <a:pt x="448" y="37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34" name="Freeform 203">
                <a:extLst>
                  <a:ext uri="{FF2B5EF4-FFF2-40B4-BE49-F238E27FC236}">
                    <a16:creationId xmlns:a16="http://schemas.microsoft.com/office/drawing/2014/main" id="{F1AF71AF-6A91-46C1-BE16-F23419A1A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8278" y="4382524"/>
                <a:ext cx="914756" cy="656449"/>
              </a:xfrm>
              <a:custGeom>
                <a:avLst/>
                <a:gdLst>
                  <a:gd name="T0" fmla="*/ 301 w 524"/>
                  <a:gd name="T1" fmla="*/ 376 h 376"/>
                  <a:gd name="T2" fmla="*/ 29 w 524"/>
                  <a:gd name="T3" fmla="*/ 114 h 376"/>
                  <a:gd name="T4" fmla="*/ 10 w 524"/>
                  <a:gd name="T5" fmla="*/ 114 h 376"/>
                  <a:gd name="T6" fmla="*/ 2 w 524"/>
                  <a:gd name="T7" fmla="*/ 109 h 376"/>
                  <a:gd name="T8" fmla="*/ 2 w 524"/>
                  <a:gd name="T9" fmla="*/ 99 h 376"/>
                  <a:gd name="T10" fmla="*/ 68 w 524"/>
                  <a:gd name="T11" fmla="*/ 5 h 376"/>
                  <a:gd name="T12" fmla="*/ 83 w 524"/>
                  <a:gd name="T13" fmla="*/ 5 h 376"/>
                  <a:gd name="T14" fmla="*/ 149 w 524"/>
                  <a:gd name="T15" fmla="*/ 99 h 376"/>
                  <a:gd name="T16" fmla="*/ 150 w 524"/>
                  <a:gd name="T17" fmla="*/ 109 h 376"/>
                  <a:gd name="T18" fmla="*/ 141 w 524"/>
                  <a:gd name="T19" fmla="*/ 114 h 376"/>
                  <a:gd name="T20" fmla="*/ 123 w 524"/>
                  <a:gd name="T21" fmla="*/ 114 h 376"/>
                  <a:gd name="T22" fmla="*/ 301 w 524"/>
                  <a:gd name="T23" fmla="*/ 283 h 376"/>
                  <a:gd name="T24" fmla="*/ 460 w 524"/>
                  <a:gd name="T25" fmla="*/ 185 h 376"/>
                  <a:gd name="T26" fmla="*/ 476 w 524"/>
                  <a:gd name="T27" fmla="*/ 193 h 376"/>
                  <a:gd name="T28" fmla="*/ 301 w 524"/>
                  <a:gd name="T29" fmla="*/ 301 h 376"/>
                  <a:gd name="T30" fmla="*/ 104 w 524"/>
                  <a:gd name="T31" fmla="*/ 104 h 376"/>
                  <a:gd name="T32" fmla="*/ 113 w 524"/>
                  <a:gd name="T33" fmla="*/ 95 h 376"/>
                  <a:gd name="T34" fmla="*/ 123 w 524"/>
                  <a:gd name="T35" fmla="*/ 95 h 376"/>
                  <a:gd name="T36" fmla="*/ 76 w 524"/>
                  <a:gd name="T37" fmla="*/ 27 h 376"/>
                  <a:gd name="T38" fmla="*/ 28 w 524"/>
                  <a:gd name="T39" fmla="*/ 95 h 376"/>
                  <a:gd name="T40" fmla="*/ 38 w 524"/>
                  <a:gd name="T41" fmla="*/ 95 h 376"/>
                  <a:gd name="T42" fmla="*/ 48 w 524"/>
                  <a:gd name="T43" fmla="*/ 104 h 376"/>
                  <a:gd name="T44" fmla="*/ 301 w 524"/>
                  <a:gd name="T45" fmla="*/ 358 h 376"/>
                  <a:gd name="T46" fmla="*/ 508 w 524"/>
                  <a:gd name="T47" fmla="*/ 249 h 376"/>
                  <a:gd name="T48" fmla="*/ 524 w 524"/>
                  <a:gd name="T49" fmla="*/ 260 h 376"/>
                  <a:gd name="T50" fmla="*/ 301 w 524"/>
                  <a:gd name="T51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24" h="376">
                    <a:moveTo>
                      <a:pt x="301" y="376"/>
                    </a:moveTo>
                    <a:cubicBezTo>
                      <a:pt x="154" y="376"/>
                      <a:pt x="34" y="259"/>
                      <a:pt x="29" y="114"/>
                    </a:cubicBezTo>
                    <a:cubicBezTo>
                      <a:pt x="10" y="114"/>
                      <a:pt x="10" y="114"/>
                      <a:pt x="10" y="114"/>
                    </a:cubicBezTo>
                    <a:cubicBezTo>
                      <a:pt x="7" y="114"/>
                      <a:pt x="3" y="112"/>
                      <a:pt x="2" y="109"/>
                    </a:cubicBezTo>
                    <a:cubicBezTo>
                      <a:pt x="0" y="106"/>
                      <a:pt x="0" y="102"/>
                      <a:pt x="2" y="99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72" y="0"/>
                      <a:pt x="80" y="0"/>
                      <a:pt x="83" y="5"/>
                    </a:cubicBezTo>
                    <a:cubicBezTo>
                      <a:pt x="149" y="99"/>
                      <a:pt x="149" y="99"/>
                      <a:pt x="149" y="99"/>
                    </a:cubicBezTo>
                    <a:cubicBezTo>
                      <a:pt x="151" y="102"/>
                      <a:pt x="151" y="106"/>
                      <a:pt x="150" y="109"/>
                    </a:cubicBezTo>
                    <a:cubicBezTo>
                      <a:pt x="148" y="112"/>
                      <a:pt x="145" y="114"/>
                      <a:pt x="141" y="114"/>
                    </a:cubicBezTo>
                    <a:cubicBezTo>
                      <a:pt x="123" y="114"/>
                      <a:pt x="123" y="114"/>
                      <a:pt x="123" y="114"/>
                    </a:cubicBezTo>
                    <a:cubicBezTo>
                      <a:pt x="128" y="208"/>
                      <a:pt x="206" y="283"/>
                      <a:pt x="301" y="283"/>
                    </a:cubicBezTo>
                    <a:cubicBezTo>
                      <a:pt x="368" y="283"/>
                      <a:pt x="429" y="245"/>
                      <a:pt x="460" y="185"/>
                    </a:cubicBezTo>
                    <a:cubicBezTo>
                      <a:pt x="476" y="193"/>
                      <a:pt x="476" y="193"/>
                      <a:pt x="476" y="193"/>
                    </a:cubicBezTo>
                    <a:cubicBezTo>
                      <a:pt x="443" y="260"/>
                      <a:pt x="375" y="301"/>
                      <a:pt x="301" y="301"/>
                    </a:cubicBezTo>
                    <a:cubicBezTo>
                      <a:pt x="192" y="301"/>
                      <a:pt x="104" y="213"/>
                      <a:pt x="104" y="104"/>
                    </a:cubicBezTo>
                    <a:cubicBezTo>
                      <a:pt x="104" y="99"/>
                      <a:pt x="108" y="95"/>
                      <a:pt x="113" y="95"/>
                    </a:cubicBezTo>
                    <a:cubicBezTo>
                      <a:pt x="123" y="95"/>
                      <a:pt x="123" y="95"/>
                      <a:pt x="123" y="95"/>
                    </a:cubicBezTo>
                    <a:cubicBezTo>
                      <a:pt x="76" y="27"/>
                      <a:pt x="76" y="27"/>
                      <a:pt x="76" y="27"/>
                    </a:cubicBezTo>
                    <a:cubicBezTo>
                      <a:pt x="28" y="95"/>
                      <a:pt x="28" y="95"/>
                      <a:pt x="28" y="95"/>
                    </a:cubicBezTo>
                    <a:cubicBezTo>
                      <a:pt x="38" y="95"/>
                      <a:pt x="38" y="95"/>
                      <a:pt x="38" y="95"/>
                    </a:cubicBezTo>
                    <a:cubicBezTo>
                      <a:pt x="43" y="95"/>
                      <a:pt x="48" y="99"/>
                      <a:pt x="48" y="104"/>
                    </a:cubicBezTo>
                    <a:cubicBezTo>
                      <a:pt x="48" y="244"/>
                      <a:pt x="161" y="358"/>
                      <a:pt x="301" y="358"/>
                    </a:cubicBezTo>
                    <a:cubicBezTo>
                      <a:pt x="383" y="358"/>
                      <a:pt x="461" y="317"/>
                      <a:pt x="508" y="249"/>
                    </a:cubicBezTo>
                    <a:cubicBezTo>
                      <a:pt x="524" y="260"/>
                      <a:pt x="524" y="260"/>
                      <a:pt x="524" y="260"/>
                    </a:cubicBezTo>
                    <a:cubicBezTo>
                      <a:pt x="473" y="333"/>
                      <a:pt x="389" y="376"/>
                      <a:pt x="301" y="37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35" name="Freeform 204">
                <a:extLst>
                  <a:ext uri="{FF2B5EF4-FFF2-40B4-BE49-F238E27FC236}">
                    <a16:creationId xmlns:a16="http://schemas.microsoft.com/office/drawing/2014/main" id="{7AB82311-35C7-4B6F-9337-2F9ECCAD08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3982" y="4384223"/>
                <a:ext cx="359542" cy="361484"/>
              </a:xfrm>
              <a:custGeom>
                <a:avLst/>
                <a:gdLst>
                  <a:gd name="T0" fmla="*/ 103 w 206"/>
                  <a:gd name="T1" fmla="*/ 207 h 207"/>
                  <a:gd name="T2" fmla="*/ 0 w 206"/>
                  <a:gd name="T3" fmla="*/ 103 h 207"/>
                  <a:gd name="T4" fmla="*/ 103 w 206"/>
                  <a:gd name="T5" fmla="*/ 0 h 207"/>
                  <a:gd name="T6" fmla="*/ 206 w 206"/>
                  <a:gd name="T7" fmla="*/ 103 h 207"/>
                  <a:gd name="T8" fmla="*/ 103 w 206"/>
                  <a:gd name="T9" fmla="*/ 207 h 207"/>
                  <a:gd name="T10" fmla="*/ 103 w 206"/>
                  <a:gd name="T11" fmla="*/ 19 h 207"/>
                  <a:gd name="T12" fmla="*/ 18 w 206"/>
                  <a:gd name="T13" fmla="*/ 103 h 207"/>
                  <a:gd name="T14" fmla="*/ 103 w 206"/>
                  <a:gd name="T15" fmla="*/ 188 h 207"/>
                  <a:gd name="T16" fmla="*/ 187 w 206"/>
                  <a:gd name="T17" fmla="*/ 103 h 207"/>
                  <a:gd name="T18" fmla="*/ 103 w 206"/>
                  <a:gd name="T19" fmla="*/ 19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6" h="207">
                    <a:moveTo>
                      <a:pt x="103" y="207"/>
                    </a:moveTo>
                    <a:cubicBezTo>
                      <a:pt x="46" y="207"/>
                      <a:pt x="0" y="160"/>
                      <a:pt x="0" y="103"/>
                    </a:cubicBezTo>
                    <a:cubicBezTo>
                      <a:pt x="0" y="47"/>
                      <a:pt x="46" y="0"/>
                      <a:pt x="103" y="0"/>
                    </a:cubicBezTo>
                    <a:cubicBezTo>
                      <a:pt x="159" y="0"/>
                      <a:pt x="206" y="47"/>
                      <a:pt x="206" y="103"/>
                    </a:cubicBezTo>
                    <a:cubicBezTo>
                      <a:pt x="206" y="160"/>
                      <a:pt x="159" y="207"/>
                      <a:pt x="103" y="207"/>
                    </a:cubicBezTo>
                    <a:close/>
                    <a:moveTo>
                      <a:pt x="103" y="19"/>
                    </a:moveTo>
                    <a:cubicBezTo>
                      <a:pt x="56" y="19"/>
                      <a:pt x="18" y="57"/>
                      <a:pt x="18" y="103"/>
                    </a:cubicBezTo>
                    <a:cubicBezTo>
                      <a:pt x="18" y="150"/>
                      <a:pt x="56" y="188"/>
                      <a:pt x="103" y="188"/>
                    </a:cubicBezTo>
                    <a:cubicBezTo>
                      <a:pt x="149" y="188"/>
                      <a:pt x="187" y="150"/>
                      <a:pt x="187" y="103"/>
                    </a:cubicBezTo>
                    <a:cubicBezTo>
                      <a:pt x="187" y="57"/>
                      <a:pt x="149" y="19"/>
                      <a:pt x="103" y="1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36" name="Rectangle 206">
                <a:extLst>
                  <a:ext uri="{FF2B5EF4-FFF2-40B4-BE49-F238E27FC236}">
                    <a16:creationId xmlns:a16="http://schemas.microsoft.com/office/drawing/2014/main" id="{00E5F040-0F4A-44CF-9CFB-492F34C82C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66152" y="4548335"/>
                <a:ext cx="33259" cy="3326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37" name="Rectangle 207">
                <a:extLst>
                  <a:ext uri="{FF2B5EF4-FFF2-40B4-BE49-F238E27FC236}">
                    <a16:creationId xmlns:a16="http://schemas.microsoft.com/office/drawing/2014/main" id="{77857E95-9A52-4017-9F78-8649855211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1576" y="4548335"/>
                <a:ext cx="31560" cy="3326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  <p:sp>
            <p:nvSpPr>
              <p:cNvPr id="38" name="Rectangle 208">
                <a:extLst>
                  <a:ext uri="{FF2B5EF4-FFF2-40B4-BE49-F238E27FC236}">
                    <a16:creationId xmlns:a16="http://schemas.microsoft.com/office/drawing/2014/main" id="{CA0F989F-6204-4D73-8CD1-CCF0B803A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32671" y="4548335"/>
                <a:ext cx="31317" cy="3326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110400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endParaRPr>
              </a:p>
            </p:txBody>
          </p:sp>
        </p:grpSp>
        <p:grpSp>
          <p:nvGrpSpPr>
            <p:cNvPr id="39" name="Gruppieren 83">
              <a:extLst>
                <a:ext uri="{FF2B5EF4-FFF2-40B4-BE49-F238E27FC236}">
                  <a16:creationId xmlns:a16="http://schemas.microsoft.com/office/drawing/2014/main" id="{E86BD5CE-37D8-492D-87F7-85F7AD6B41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9896" y="1782948"/>
              <a:ext cx="439694" cy="383983"/>
              <a:chOff x="1356836" y="4371483"/>
              <a:chExt cx="964003" cy="841899"/>
            </a:xfrm>
            <a:solidFill>
              <a:schemeClr val="accent1"/>
            </a:solidFill>
          </p:grpSpPr>
          <p:sp>
            <p:nvSpPr>
              <p:cNvPr id="40" name="Rectangle 60">
                <a:extLst>
                  <a:ext uri="{FF2B5EF4-FFF2-40B4-BE49-F238E27FC236}">
                    <a16:creationId xmlns:a16="http://schemas.microsoft.com/office/drawing/2014/main" id="{CDF434AA-EB70-46DF-938A-86D10705A8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199" y="4582068"/>
                <a:ext cx="301279" cy="3008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 61">
                <a:extLst>
                  <a:ext uri="{FF2B5EF4-FFF2-40B4-BE49-F238E27FC236}">
                    <a16:creationId xmlns:a16="http://schemas.microsoft.com/office/drawing/2014/main" id="{F237603B-1629-4E6B-925E-A51A944E9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4686" y="4792211"/>
                <a:ext cx="135819" cy="165460"/>
              </a:xfrm>
              <a:custGeom>
                <a:avLst/>
                <a:gdLst>
                  <a:gd name="T0" fmla="*/ 4 w 36"/>
                  <a:gd name="T1" fmla="*/ 44 h 44"/>
                  <a:gd name="T2" fmla="*/ 1 w 36"/>
                  <a:gd name="T3" fmla="*/ 43 h 44"/>
                  <a:gd name="T4" fmla="*/ 1 w 36"/>
                  <a:gd name="T5" fmla="*/ 37 h 44"/>
                  <a:gd name="T6" fmla="*/ 16 w 36"/>
                  <a:gd name="T7" fmla="*/ 22 h 44"/>
                  <a:gd name="T8" fmla="*/ 16 w 36"/>
                  <a:gd name="T9" fmla="*/ 14 h 44"/>
                  <a:gd name="T10" fmla="*/ 29 w 36"/>
                  <a:gd name="T11" fmla="*/ 1 h 44"/>
                  <a:gd name="T12" fmla="*/ 35 w 36"/>
                  <a:gd name="T13" fmla="*/ 1 h 44"/>
                  <a:gd name="T14" fmla="*/ 35 w 36"/>
                  <a:gd name="T15" fmla="*/ 7 h 44"/>
                  <a:gd name="T16" fmla="*/ 24 w 36"/>
                  <a:gd name="T17" fmla="*/ 18 h 44"/>
                  <a:gd name="T18" fmla="*/ 24 w 36"/>
                  <a:gd name="T19" fmla="*/ 26 h 44"/>
                  <a:gd name="T20" fmla="*/ 7 w 36"/>
                  <a:gd name="T21" fmla="*/ 43 h 44"/>
                  <a:gd name="T22" fmla="*/ 4 w 36"/>
                  <a:gd name="T2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44">
                    <a:moveTo>
                      <a:pt x="4" y="44"/>
                    </a:moveTo>
                    <a:cubicBezTo>
                      <a:pt x="3" y="44"/>
                      <a:pt x="2" y="44"/>
                      <a:pt x="1" y="43"/>
                    </a:cubicBezTo>
                    <a:cubicBezTo>
                      <a:pt x="0" y="41"/>
                      <a:pt x="0" y="39"/>
                      <a:pt x="1" y="37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6" y="3"/>
                      <a:pt x="36" y="5"/>
                      <a:pt x="35" y="7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6" y="44"/>
                      <a:pt x="5" y="44"/>
                      <a:pt x="4" y="4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 62">
                <a:extLst>
                  <a:ext uri="{FF2B5EF4-FFF2-40B4-BE49-F238E27FC236}">
                    <a16:creationId xmlns:a16="http://schemas.microsoft.com/office/drawing/2014/main" id="{ED318EF0-1F15-4547-9F81-ACBB61005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8975" y="4867420"/>
                <a:ext cx="271196" cy="270752"/>
              </a:xfrm>
              <a:custGeom>
                <a:avLst/>
                <a:gdLst>
                  <a:gd name="T0" fmla="*/ 56 w 72"/>
                  <a:gd name="T1" fmla="*/ 72 h 72"/>
                  <a:gd name="T2" fmla="*/ 45 w 72"/>
                  <a:gd name="T3" fmla="*/ 67 h 72"/>
                  <a:gd name="T4" fmla="*/ 1 w 72"/>
                  <a:gd name="T5" fmla="*/ 23 h 72"/>
                  <a:gd name="T6" fmla="*/ 1 w 72"/>
                  <a:gd name="T7" fmla="*/ 17 h 72"/>
                  <a:gd name="T8" fmla="*/ 7 w 72"/>
                  <a:gd name="T9" fmla="*/ 17 h 72"/>
                  <a:gd name="T10" fmla="*/ 51 w 72"/>
                  <a:gd name="T11" fmla="*/ 61 h 72"/>
                  <a:gd name="T12" fmla="*/ 56 w 72"/>
                  <a:gd name="T13" fmla="*/ 64 h 72"/>
                  <a:gd name="T14" fmla="*/ 64 w 72"/>
                  <a:gd name="T15" fmla="*/ 56 h 72"/>
                  <a:gd name="T16" fmla="*/ 61 w 72"/>
                  <a:gd name="T17" fmla="*/ 51 h 72"/>
                  <a:gd name="T18" fmla="*/ 17 w 72"/>
                  <a:gd name="T19" fmla="*/ 7 h 72"/>
                  <a:gd name="T20" fmla="*/ 17 w 72"/>
                  <a:gd name="T21" fmla="*/ 1 h 72"/>
                  <a:gd name="T22" fmla="*/ 23 w 72"/>
                  <a:gd name="T23" fmla="*/ 1 h 72"/>
                  <a:gd name="T24" fmla="*/ 67 w 72"/>
                  <a:gd name="T25" fmla="*/ 45 h 72"/>
                  <a:gd name="T26" fmla="*/ 72 w 72"/>
                  <a:gd name="T27" fmla="*/ 56 h 72"/>
                  <a:gd name="T28" fmla="*/ 56 w 72"/>
                  <a:gd name="T2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" h="72">
                    <a:moveTo>
                      <a:pt x="56" y="72"/>
                    </a:moveTo>
                    <a:cubicBezTo>
                      <a:pt x="51" y="72"/>
                      <a:pt x="46" y="67"/>
                      <a:pt x="45" y="67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0" y="21"/>
                      <a:pt x="0" y="19"/>
                      <a:pt x="1" y="17"/>
                    </a:cubicBezTo>
                    <a:cubicBezTo>
                      <a:pt x="3" y="16"/>
                      <a:pt x="5" y="16"/>
                      <a:pt x="7" y="17"/>
                    </a:cubicBezTo>
                    <a:cubicBezTo>
                      <a:pt x="51" y="61"/>
                      <a:pt x="51" y="61"/>
                      <a:pt x="51" y="61"/>
                    </a:cubicBezTo>
                    <a:cubicBezTo>
                      <a:pt x="52" y="62"/>
                      <a:pt x="54" y="64"/>
                      <a:pt x="56" y="64"/>
                    </a:cubicBezTo>
                    <a:cubicBezTo>
                      <a:pt x="60" y="64"/>
                      <a:pt x="64" y="60"/>
                      <a:pt x="64" y="56"/>
                    </a:cubicBezTo>
                    <a:cubicBezTo>
                      <a:pt x="64" y="54"/>
                      <a:pt x="62" y="52"/>
                      <a:pt x="61" y="51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6" y="5"/>
                      <a:pt x="16" y="3"/>
                      <a:pt x="17" y="1"/>
                    </a:cubicBezTo>
                    <a:cubicBezTo>
                      <a:pt x="19" y="0"/>
                      <a:pt x="21" y="0"/>
                      <a:pt x="23" y="1"/>
                    </a:cubicBezTo>
                    <a:cubicBezTo>
                      <a:pt x="67" y="45"/>
                      <a:pt x="67" y="45"/>
                      <a:pt x="67" y="45"/>
                    </a:cubicBezTo>
                    <a:cubicBezTo>
                      <a:pt x="67" y="46"/>
                      <a:pt x="72" y="51"/>
                      <a:pt x="72" y="56"/>
                    </a:cubicBezTo>
                    <a:cubicBezTo>
                      <a:pt x="72" y="65"/>
                      <a:pt x="65" y="72"/>
                      <a:pt x="56" y="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 63">
                <a:extLst>
                  <a:ext uri="{FF2B5EF4-FFF2-40B4-BE49-F238E27FC236}">
                    <a16:creationId xmlns:a16="http://schemas.microsoft.com/office/drawing/2014/main" id="{82B8C700-74EA-4D36-9425-2D709E680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366" y="4987755"/>
                <a:ext cx="256154" cy="195543"/>
              </a:xfrm>
              <a:custGeom>
                <a:avLst/>
                <a:gdLst>
                  <a:gd name="T0" fmla="*/ 52 w 68"/>
                  <a:gd name="T1" fmla="*/ 52 h 52"/>
                  <a:gd name="T2" fmla="*/ 41 w 68"/>
                  <a:gd name="T3" fmla="*/ 47 h 52"/>
                  <a:gd name="T4" fmla="*/ 1 w 68"/>
                  <a:gd name="T5" fmla="*/ 7 h 52"/>
                  <a:gd name="T6" fmla="*/ 1 w 68"/>
                  <a:gd name="T7" fmla="*/ 1 h 52"/>
                  <a:gd name="T8" fmla="*/ 7 w 68"/>
                  <a:gd name="T9" fmla="*/ 1 h 52"/>
                  <a:gd name="T10" fmla="*/ 47 w 68"/>
                  <a:gd name="T11" fmla="*/ 41 h 52"/>
                  <a:gd name="T12" fmla="*/ 52 w 68"/>
                  <a:gd name="T13" fmla="*/ 44 h 52"/>
                  <a:gd name="T14" fmla="*/ 60 w 68"/>
                  <a:gd name="T15" fmla="*/ 36 h 52"/>
                  <a:gd name="T16" fmla="*/ 57 w 68"/>
                  <a:gd name="T17" fmla="*/ 31 h 52"/>
                  <a:gd name="T18" fmla="*/ 57 w 68"/>
                  <a:gd name="T19" fmla="*/ 25 h 52"/>
                  <a:gd name="T20" fmla="*/ 63 w 68"/>
                  <a:gd name="T21" fmla="*/ 25 h 52"/>
                  <a:gd name="T22" fmla="*/ 68 w 68"/>
                  <a:gd name="T23" fmla="*/ 36 h 52"/>
                  <a:gd name="T24" fmla="*/ 52 w 68"/>
                  <a:gd name="T2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8" h="52">
                    <a:moveTo>
                      <a:pt x="52" y="52"/>
                    </a:moveTo>
                    <a:cubicBezTo>
                      <a:pt x="47" y="52"/>
                      <a:pt x="42" y="47"/>
                      <a:pt x="41" y="4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8" y="42"/>
                      <a:pt x="50" y="44"/>
                      <a:pt x="52" y="44"/>
                    </a:cubicBezTo>
                    <a:cubicBezTo>
                      <a:pt x="56" y="44"/>
                      <a:pt x="60" y="40"/>
                      <a:pt x="60" y="36"/>
                    </a:cubicBezTo>
                    <a:cubicBezTo>
                      <a:pt x="60" y="34"/>
                      <a:pt x="58" y="32"/>
                      <a:pt x="57" y="31"/>
                    </a:cubicBezTo>
                    <a:cubicBezTo>
                      <a:pt x="56" y="29"/>
                      <a:pt x="56" y="27"/>
                      <a:pt x="57" y="25"/>
                    </a:cubicBezTo>
                    <a:cubicBezTo>
                      <a:pt x="59" y="24"/>
                      <a:pt x="61" y="24"/>
                      <a:pt x="63" y="25"/>
                    </a:cubicBezTo>
                    <a:cubicBezTo>
                      <a:pt x="63" y="26"/>
                      <a:pt x="68" y="31"/>
                      <a:pt x="68" y="36"/>
                    </a:cubicBezTo>
                    <a:cubicBezTo>
                      <a:pt x="68" y="45"/>
                      <a:pt x="61" y="52"/>
                      <a:pt x="5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 64">
                <a:extLst>
                  <a:ext uri="{FF2B5EF4-FFF2-40B4-BE49-F238E27FC236}">
                    <a16:creationId xmlns:a16="http://schemas.microsoft.com/office/drawing/2014/main" id="{EF3ECBD1-0B03-4E6E-937B-978F2996A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170" y="4792211"/>
                <a:ext cx="437098" cy="421170"/>
              </a:xfrm>
              <a:custGeom>
                <a:avLst/>
                <a:gdLst>
                  <a:gd name="T0" fmla="*/ 100 w 116"/>
                  <a:gd name="T1" fmla="*/ 112 h 112"/>
                  <a:gd name="T2" fmla="*/ 89 w 116"/>
                  <a:gd name="T3" fmla="*/ 107 h 112"/>
                  <a:gd name="T4" fmla="*/ 16 w 116"/>
                  <a:gd name="T5" fmla="*/ 34 h 112"/>
                  <a:gd name="T6" fmla="*/ 16 w 116"/>
                  <a:gd name="T7" fmla="*/ 22 h 112"/>
                  <a:gd name="T8" fmla="*/ 1 w 116"/>
                  <a:gd name="T9" fmla="*/ 7 h 112"/>
                  <a:gd name="T10" fmla="*/ 1 w 116"/>
                  <a:gd name="T11" fmla="*/ 1 h 112"/>
                  <a:gd name="T12" fmla="*/ 7 w 116"/>
                  <a:gd name="T13" fmla="*/ 1 h 112"/>
                  <a:gd name="T14" fmla="*/ 24 w 116"/>
                  <a:gd name="T15" fmla="*/ 18 h 112"/>
                  <a:gd name="T16" fmla="*/ 24 w 116"/>
                  <a:gd name="T17" fmla="*/ 30 h 112"/>
                  <a:gd name="T18" fmla="*/ 95 w 116"/>
                  <a:gd name="T19" fmla="*/ 101 h 112"/>
                  <a:gd name="T20" fmla="*/ 100 w 116"/>
                  <a:gd name="T21" fmla="*/ 104 h 112"/>
                  <a:gd name="T22" fmla="*/ 108 w 116"/>
                  <a:gd name="T23" fmla="*/ 96 h 112"/>
                  <a:gd name="T24" fmla="*/ 105 w 116"/>
                  <a:gd name="T25" fmla="*/ 91 h 112"/>
                  <a:gd name="T26" fmla="*/ 105 w 116"/>
                  <a:gd name="T27" fmla="*/ 85 h 112"/>
                  <a:gd name="T28" fmla="*/ 111 w 116"/>
                  <a:gd name="T29" fmla="*/ 85 h 112"/>
                  <a:gd name="T30" fmla="*/ 116 w 116"/>
                  <a:gd name="T31" fmla="*/ 96 h 112"/>
                  <a:gd name="T32" fmla="*/ 100 w 116"/>
                  <a:gd name="T33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6" h="112">
                    <a:moveTo>
                      <a:pt x="100" y="112"/>
                    </a:moveTo>
                    <a:cubicBezTo>
                      <a:pt x="95" y="112"/>
                      <a:pt x="90" y="107"/>
                      <a:pt x="89" y="107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95" y="101"/>
                      <a:pt x="95" y="101"/>
                      <a:pt x="95" y="101"/>
                    </a:cubicBezTo>
                    <a:cubicBezTo>
                      <a:pt x="96" y="102"/>
                      <a:pt x="98" y="104"/>
                      <a:pt x="100" y="104"/>
                    </a:cubicBezTo>
                    <a:cubicBezTo>
                      <a:pt x="104" y="104"/>
                      <a:pt x="108" y="100"/>
                      <a:pt x="108" y="96"/>
                    </a:cubicBezTo>
                    <a:cubicBezTo>
                      <a:pt x="108" y="94"/>
                      <a:pt x="106" y="92"/>
                      <a:pt x="105" y="91"/>
                    </a:cubicBezTo>
                    <a:cubicBezTo>
                      <a:pt x="104" y="89"/>
                      <a:pt x="104" y="87"/>
                      <a:pt x="105" y="85"/>
                    </a:cubicBezTo>
                    <a:cubicBezTo>
                      <a:pt x="107" y="84"/>
                      <a:pt x="109" y="84"/>
                      <a:pt x="111" y="85"/>
                    </a:cubicBezTo>
                    <a:cubicBezTo>
                      <a:pt x="111" y="86"/>
                      <a:pt x="116" y="91"/>
                      <a:pt x="116" y="96"/>
                    </a:cubicBezTo>
                    <a:cubicBezTo>
                      <a:pt x="116" y="105"/>
                      <a:pt x="109" y="112"/>
                      <a:pt x="100" y="1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 65">
                <a:extLst>
                  <a:ext uri="{FF2B5EF4-FFF2-40B4-BE49-F238E27FC236}">
                    <a16:creationId xmlns:a16="http://schemas.microsoft.com/office/drawing/2014/main" id="{248C7FEE-D01F-44A7-A0C2-EA14E3A9F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7780" y="4927587"/>
                <a:ext cx="105293" cy="105293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7"/>
                      <a:pt x="5" y="2"/>
                      <a:pt x="5" y="1"/>
                    </a:cubicBezTo>
                    <a:cubicBezTo>
                      <a:pt x="7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10" y="8"/>
                      <a:pt x="8" y="10"/>
                      <a:pt x="8" y="12"/>
                    </a:cubicBezTo>
                    <a:cubicBezTo>
                      <a:pt x="8" y="16"/>
                      <a:pt x="12" y="20"/>
                      <a:pt x="16" y="20"/>
                    </a:cubicBezTo>
                    <a:cubicBezTo>
                      <a:pt x="18" y="20"/>
                      <a:pt x="20" y="18"/>
                      <a:pt x="21" y="17"/>
                    </a:cubicBezTo>
                    <a:cubicBezTo>
                      <a:pt x="23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 66">
                <a:extLst>
                  <a:ext uri="{FF2B5EF4-FFF2-40B4-BE49-F238E27FC236}">
                    <a16:creationId xmlns:a16="http://schemas.microsoft.com/office/drawing/2014/main" id="{1EA4DED2-FAC5-4612-90D5-EB54E4450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7948" y="4987755"/>
                <a:ext cx="105293" cy="105293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7"/>
                      <a:pt x="5" y="2"/>
                      <a:pt x="5" y="1"/>
                    </a:cubicBezTo>
                    <a:cubicBezTo>
                      <a:pt x="7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10" y="8"/>
                      <a:pt x="8" y="10"/>
                      <a:pt x="8" y="12"/>
                    </a:cubicBezTo>
                    <a:cubicBezTo>
                      <a:pt x="8" y="16"/>
                      <a:pt x="12" y="20"/>
                      <a:pt x="16" y="20"/>
                    </a:cubicBezTo>
                    <a:cubicBezTo>
                      <a:pt x="18" y="20"/>
                      <a:pt x="20" y="18"/>
                      <a:pt x="21" y="17"/>
                    </a:cubicBezTo>
                    <a:cubicBezTo>
                      <a:pt x="23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 67">
                <a:extLst>
                  <a:ext uri="{FF2B5EF4-FFF2-40B4-BE49-F238E27FC236}">
                    <a16:creationId xmlns:a16="http://schemas.microsoft.com/office/drawing/2014/main" id="{436D2368-2BF3-4325-820C-5A28A789E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8115" y="5047922"/>
                <a:ext cx="105293" cy="105293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7"/>
                      <a:pt x="5" y="2"/>
                      <a:pt x="5" y="1"/>
                    </a:cubicBezTo>
                    <a:cubicBezTo>
                      <a:pt x="7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10" y="8"/>
                      <a:pt x="8" y="10"/>
                      <a:pt x="8" y="12"/>
                    </a:cubicBezTo>
                    <a:cubicBezTo>
                      <a:pt x="8" y="16"/>
                      <a:pt x="12" y="20"/>
                      <a:pt x="16" y="20"/>
                    </a:cubicBezTo>
                    <a:cubicBezTo>
                      <a:pt x="18" y="20"/>
                      <a:pt x="20" y="18"/>
                      <a:pt x="21" y="17"/>
                    </a:cubicBezTo>
                    <a:cubicBezTo>
                      <a:pt x="23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 68">
                <a:extLst>
                  <a:ext uri="{FF2B5EF4-FFF2-40B4-BE49-F238E27FC236}">
                    <a16:creationId xmlns:a16="http://schemas.microsoft.com/office/drawing/2014/main" id="{0223781E-264C-4099-8325-C6888DD43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8282" y="5108089"/>
                <a:ext cx="105735" cy="105293"/>
              </a:xfrm>
              <a:custGeom>
                <a:avLst/>
                <a:gdLst>
                  <a:gd name="T0" fmla="*/ 16 w 28"/>
                  <a:gd name="T1" fmla="*/ 28 h 28"/>
                  <a:gd name="T2" fmla="*/ 0 w 28"/>
                  <a:gd name="T3" fmla="*/ 12 h 28"/>
                  <a:gd name="T4" fmla="*/ 5 w 28"/>
                  <a:gd name="T5" fmla="*/ 1 h 28"/>
                  <a:gd name="T6" fmla="*/ 11 w 28"/>
                  <a:gd name="T7" fmla="*/ 1 h 28"/>
                  <a:gd name="T8" fmla="*/ 11 w 28"/>
                  <a:gd name="T9" fmla="*/ 7 h 28"/>
                  <a:gd name="T10" fmla="*/ 8 w 28"/>
                  <a:gd name="T11" fmla="*/ 12 h 28"/>
                  <a:gd name="T12" fmla="*/ 16 w 28"/>
                  <a:gd name="T13" fmla="*/ 20 h 28"/>
                  <a:gd name="T14" fmla="*/ 21 w 28"/>
                  <a:gd name="T15" fmla="*/ 17 h 28"/>
                  <a:gd name="T16" fmla="*/ 27 w 28"/>
                  <a:gd name="T17" fmla="*/ 17 h 28"/>
                  <a:gd name="T18" fmla="*/ 27 w 28"/>
                  <a:gd name="T19" fmla="*/ 23 h 28"/>
                  <a:gd name="T20" fmla="*/ 16 w 28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6" y="28"/>
                    </a:moveTo>
                    <a:cubicBezTo>
                      <a:pt x="7" y="28"/>
                      <a:pt x="0" y="21"/>
                      <a:pt x="0" y="12"/>
                    </a:cubicBezTo>
                    <a:cubicBezTo>
                      <a:pt x="0" y="7"/>
                      <a:pt x="5" y="2"/>
                      <a:pt x="5" y="1"/>
                    </a:cubicBezTo>
                    <a:cubicBezTo>
                      <a:pt x="7" y="0"/>
                      <a:pt x="9" y="0"/>
                      <a:pt x="11" y="1"/>
                    </a:cubicBezTo>
                    <a:cubicBezTo>
                      <a:pt x="12" y="3"/>
                      <a:pt x="12" y="5"/>
                      <a:pt x="11" y="7"/>
                    </a:cubicBezTo>
                    <a:cubicBezTo>
                      <a:pt x="10" y="8"/>
                      <a:pt x="8" y="10"/>
                      <a:pt x="8" y="12"/>
                    </a:cubicBezTo>
                    <a:cubicBezTo>
                      <a:pt x="8" y="16"/>
                      <a:pt x="12" y="20"/>
                      <a:pt x="16" y="20"/>
                    </a:cubicBezTo>
                    <a:cubicBezTo>
                      <a:pt x="18" y="20"/>
                      <a:pt x="20" y="18"/>
                      <a:pt x="21" y="17"/>
                    </a:cubicBezTo>
                    <a:cubicBezTo>
                      <a:pt x="23" y="16"/>
                      <a:pt x="25" y="16"/>
                      <a:pt x="27" y="17"/>
                    </a:cubicBezTo>
                    <a:cubicBezTo>
                      <a:pt x="28" y="19"/>
                      <a:pt x="28" y="21"/>
                      <a:pt x="27" y="23"/>
                    </a:cubicBezTo>
                    <a:cubicBezTo>
                      <a:pt x="26" y="23"/>
                      <a:pt x="21" y="28"/>
                      <a:pt x="16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 69">
                <a:extLst>
                  <a:ext uri="{FF2B5EF4-FFF2-40B4-BE49-F238E27FC236}">
                    <a16:creationId xmlns:a16="http://schemas.microsoft.com/office/drawing/2014/main" id="{363D83F2-F4BC-4907-8C11-64291AF0A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3157" y="4582068"/>
                <a:ext cx="437098" cy="465854"/>
              </a:xfrm>
              <a:custGeom>
                <a:avLst/>
                <a:gdLst>
                  <a:gd name="T0" fmla="*/ 100 w 116"/>
                  <a:gd name="T1" fmla="*/ 124 h 124"/>
                  <a:gd name="T2" fmla="*/ 89 w 116"/>
                  <a:gd name="T3" fmla="*/ 119 h 124"/>
                  <a:gd name="T4" fmla="*/ 89 w 116"/>
                  <a:gd name="T5" fmla="*/ 113 h 124"/>
                  <a:gd name="T6" fmla="*/ 95 w 116"/>
                  <a:gd name="T7" fmla="*/ 113 h 124"/>
                  <a:gd name="T8" fmla="*/ 100 w 116"/>
                  <a:gd name="T9" fmla="*/ 116 h 124"/>
                  <a:gd name="T10" fmla="*/ 108 w 116"/>
                  <a:gd name="T11" fmla="*/ 108 h 124"/>
                  <a:gd name="T12" fmla="*/ 105 w 116"/>
                  <a:gd name="T13" fmla="*/ 103 h 124"/>
                  <a:gd name="T14" fmla="*/ 52 w 116"/>
                  <a:gd name="T15" fmla="*/ 50 h 124"/>
                  <a:gd name="T16" fmla="*/ 52 w 116"/>
                  <a:gd name="T17" fmla="*/ 28 h 124"/>
                  <a:gd name="T18" fmla="*/ 46 w 116"/>
                  <a:gd name="T19" fmla="*/ 28 h 124"/>
                  <a:gd name="T20" fmla="*/ 27 w 116"/>
                  <a:gd name="T21" fmla="*/ 47 h 124"/>
                  <a:gd name="T22" fmla="*/ 16 w 116"/>
                  <a:gd name="T23" fmla="*/ 52 h 124"/>
                  <a:gd name="T24" fmla="*/ 0 w 116"/>
                  <a:gd name="T25" fmla="*/ 36 h 124"/>
                  <a:gd name="T26" fmla="*/ 5 w 116"/>
                  <a:gd name="T27" fmla="*/ 25 h 124"/>
                  <a:gd name="T28" fmla="*/ 29 w 116"/>
                  <a:gd name="T29" fmla="*/ 1 h 124"/>
                  <a:gd name="T30" fmla="*/ 35 w 116"/>
                  <a:gd name="T31" fmla="*/ 1 h 124"/>
                  <a:gd name="T32" fmla="*/ 35 w 116"/>
                  <a:gd name="T33" fmla="*/ 7 h 124"/>
                  <a:gd name="T34" fmla="*/ 11 w 116"/>
                  <a:gd name="T35" fmla="*/ 31 h 124"/>
                  <a:gd name="T36" fmla="*/ 8 w 116"/>
                  <a:gd name="T37" fmla="*/ 36 h 124"/>
                  <a:gd name="T38" fmla="*/ 16 w 116"/>
                  <a:gd name="T39" fmla="*/ 44 h 124"/>
                  <a:gd name="T40" fmla="*/ 21 w 116"/>
                  <a:gd name="T41" fmla="*/ 41 h 124"/>
                  <a:gd name="T42" fmla="*/ 42 w 116"/>
                  <a:gd name="T43" fmla="*/ 20 h 124"/>
                  <a:gd name="T44" fmla="*/ 60 w 116"/>
                  <a:gd name="T45" fmla="*/ 20 h 124"/>
                  <a:gd name="T46" fmla="*/ 60 w 116"/>
                  <a:gd name="T47" fmla="*/ 46 h 124"/>
                  <a:gd name="T48" fmla="*/ 111 w 116"/>
                  <a:gd name="T49" fmla="*/ 97 h 124"/>
                  <a:gd name="T50" fmla="*/ 116 w 116"/>
                  <a:gd name="T51" fmla="*/ 108 h 124"/>
                  <a:gd name="T52" fmla="*/ 100 w 116"/>
                  <a:gd name="T5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6" h="124">
                    <a:moveTo>
                      <a:pt x="100" y="124"/>
                    </a:moveTo>
                    <a:cubicBezTo>
                      <a:pt x="95" y="124"/>
                      <a:pt x="90" y="119"/>
                      <a:pt x="89" y="119"/>
                    </a:cubicBezTo>
                    <a:cubicBezTo>
                      <a:pt x="88" y="117"/>
                      <a:pt x="88" y="115"/>
                      <a:pt x="89" y="113"/>
                    </a:cubicBezTo>
                    <a:cubicBezTo>
                      <a:pt x="91" y="112"/>
                      <a:pt x="93" y="112"/>
                      <a:pt x="95" y="113"/>
                    </a:cubicBezTo>
                    <a:cubicBezTo>
                      <a:pt x="96" y="114"/>
                      <a:pt x="98" y="116"/>
                      <a:pt x="100" y="116"/>
                    </a:cubicBezTo>
                    <a:cubicBezTo>
                      <a:pt x="104" y="116"/>
                      <a:pt x="108" y="112"/>
                      <a:pt x="108" y="108"/>
                    </a:cubicBezTo>
                    <a:cubicBezTo>
                      <a:pt x="108" y="106"/>
                      <a:pt x="106" y="104"/>
                      <a:pt x="105" y="103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6" y="47"/>
                      <a:pt x="21" y="52"/>
                      <a:pt x="16" y="52"/>
                    </a:cubicBezTo>
                    <a:cubicBezTo>
                      <a:pt x="7" y="52"/>
                      <a:pt x="0" y="45"/>
                      <a:pt x="0" y="36"/>
                    </a:cubicBezTo>
                    <a:cubicBezTo>
                      <a:pt x="0" y="31"/>
                      <a:pt x="5" y="26"/>
                      <a:pt x="5" y="25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6" y="3"/>
                      <a:pt x="36" y="5"/>
                      <a:pt x="35" y="7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0" y="32"/>
                      <a:pt x="8" y="34"/>
                      <a:pt x="8" y="36"/>
                    </a:cubicBezTo>
                    <a:cubicBezTo>
                      <a:pt x="8" y="40"/>
                      <a:pt x="12" y="44"/>
                      <a:pt x="16" y="44"/>
                    </a:cubicBezTo>
                    <a:cubicBezTo>
                      <a:pt x="18" y="44"/>
                      <a:pt x="20" y="42"/>
                      <a:pt x="21" y="41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60" y="20"/>
                      <a:pt x="60" y="20"/>
                      <a:pt x="60" y="20"/>
                    </a:cubicBezTo>
                    <a:cubicBezTo>
                      <a:pt x="60" y="46"/>
                      <a:pt x="60" y="46"/>
                      <a:pt x="60" y="46"/>
                    </a:cubicBezTo>
                    <a:cubicBezTo>
                      <a:pt x="111" y="97"/>
                      <a:pt x="111" y="97"/>
                      <a:pt x="111" y="97"/>
                    </a:cubicBezTo>
                    <a:cubicBezTo>
                      <a:pt x="111" y="98"/>
                      <a:pt x="116" y="103"/>
                      <a:pt x="116" y="108"/>
                    </a:cubicBezTo>
                    <a:cubicBezTo>
                      <a:pt x="116" y="117"/>
                      <a:pt x="109" y="124"/>
                      <a:pt x="100" y="12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 70">
                <a:extLst>
                  <a:ext uri="{FF2B5EF4-FFF2-40B4-BE49-F238E27FC236}">
                    <a16:creationId xmlns:a16="http://schemas.microsoft.com/office/drawing/2014/main" id="{2C20508A-4940-4908-AB17-47D010B82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4268" y="4747086"/>
                <a:ext cx="105293" cy="60167"/>
              </a:xfrm>
              <a:custGeom>
                <a:avLst/>
                <a:gdLst>
                  <a:gd name="T0" fmla="*/ 12 w 28"/>
                  <a:gd name="T1" fmla="*/ 16 h 16"/>
                  <a:gd name="T2" fmla="*/ 0 w 28"/>
                  <a:gd name="T3" fmla="*/ 16 h 16"/>
                  <a:gd name="T4" fmla="*/ 0 w 28"/>
                  <a:gd name="T5" fmla="*/ 8 h 16"/>
                  <a:gd name="T6" fmla="*/ 12 w 28"/>
                  <a:gd name="T7" fmla="*/ 8 h 16"/>
                  <a:gd name="T8" fmla="*/ 20 w 28"/>
                  <a:gd name="T9" fmla="*/ 0 h 16"/>
                  <a:gd name="T10" fmla="*/ 28 w 28"/>
                  <a:gd name="T11" fmla="*/ 0 h 16"/>
                  <a:gd name="T12" fmla="*/ 12 w 28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6">
                    <a:moveTo>
                      <a:pt x="12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6" y="8"/>
                      <a:pt x="20" y="4"/>
                      <a:pt x="2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9"/>
                      <a:pt x="21" y="16"/>
                      <a:pt x="12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 71">
                <a:extLst>
                  <a:ext uri="{FF2B5EF4-FFF2-40B4-BE49-F238E27FC236}">
                    <a16:creationId xmlns:a16="http://schemas.microsoft.com/office/drawing/2014/main" id="{C788F135-CC4A-4792-94E5-054B40B95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4351" y="4371483"/>
                <a:ext cx="376488" cy="450812"/>
              </a:xfrm>
              <a:custGeom>
                <a:avLst/>
                <a:gdLst>
                  <a:gd name="T0" fmla="*/ 76 w 100"/>
                  <a:gd name="T1" fmla="*/ 120 h 120"/>
                  <a:gd name="T2" fmla="*/ 68 w 100"/>
                  <a:gd name="T3" fmla="*/ 120 h 120"/>
                  <a:gd name="T4" fmla="*/ 65 w 100"/>
                  <a:gd name="T5" fmla="*/ 119 h 120"/>
                  <a:gd name="T6" fmla="*/ 1 w 100"/>
                  <a:gd name="T7" fmla="*/ 55 h 120"/>
                  <a:gd name="T8" fmla="*/ 0 w 100"/>
                  <a:gd name="T9" fmla="*/ 52 h 120"/>
                  <a:gd name="T10" fmla="*/ 0 w 100"/>
                  <a:gd name="T11" fmla="*/ 44 h 120"/>
                  <a:gd name="T12" fmla="*/ 1 w 100"/>
                  <a:gd name="T13" fmla="*/ 41 h 120"/>
                  <a:gd name="T14" fmla="*/ 41 w 100"/>
                  <a:gd name="T15" fmla="*/ 1 h 120"/>
                  <a:gd name="T16" fmla="*/ 47 w 100"/>
                  <a:gd name="T17" fmla="*/ 1 h 120"/>
                  <a:gd name="T18" fmla="*/ 47 w 100"/>
                  <a:gd name="T19" fmla="*/ 7 h 120"/>
                  <a:gd name="T20" fmla="*/ 8 w 100"/>
                  <a:gd name="T21" fmla="*/ 46 h 120"/>
                  <a:gd name="T22" fmla="*/ 8 w 100"/>
                  <a:gd name="T23" fmla="*/ 50 h 120"/>
                  <a:gd name="T24" fmla="*/ 70 w 100"/>
                  <a:gd name="T25" fmla="*/ 112 h 120"/>
                  <a:gd name="T26" fmla="*/ 74 w 100"/>
                  <a:gd name="T27" fmla="*/ 112 h 120"/>
                  <a:gd name="T28" fmla="*/ 93 w 100"/>
                  <a:gd name="T29" fmla="*/ 93 h 120"/>
                  <a:gd name="T30" fmla="*/ 99 w 100"/>
                  <a:gd name="T31" fmla="*/ 93 h 120"/>
                  <a:gd name="T32" fmla="*/ 99 w 100"/>
                  <a:gd name="T33" fmla="*/ 99 h 120"/>
                  <a:gd name="T34" fmla="*/ 79 w 100"/>
                  <a:gd name="T35" fmla="*/ 119 h 120"/>
                  <a:gd name="T36" fmla="*/ 76 w 100"/>
                  <a:gd name="T3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0" h="120">
                    <a:moveTo>
                      <a:pt x="76" y="120"/>
                    </a:moveTo>
                    <a:cubicBezTo>
                      <a:pt x="68" y="120"/>
                      <a:pt x="68" y="120"/>
                      <a:pt x="68" y="120"/>
                    </a:cubicBezTo>
                    <a:cubicBezTo>
                      <a:pt x="67" y="120"/>
                      <a:pt x="66" y="120"/>
                      <a:pt x="65" y="119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0" y="54"/>
                      <a:pt x="0" y="53"/>
                      <a:pt x="0" y="5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3"/>
                      <a:pt x="0" y="42"/>
                      <a:pt x="1" y="4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3"/>
                      <a:pt x="48" y="5"/>
                      <a:pt x="47" y="7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70" y="112"/>
                      <a:pt x="70" y="112"/>
                      <a:pt x="70" y="112"/>
                    </a:cubicBezTo>
                    <a:cubicBezTo>
                      <a:pt x="74" y="112"/>
                      <a:pt x="74" y="112"/>
                      <a:pt x="74" y="112"/>
                    </a:cubicBezTo>
                    <a:cubicBezTo>
                      <a:pt x="93" y="93"/>
                      <a:pt x="93" y="93"/>
                      <a:pt x="93" y="93"/>
                    </a:cubicBezTo>
                    <a:cubicBezTo>
                      <a:pt x="95" y="92"/>
                      <a:pt x="97" y="92"/>
                      <a:pt x="99" y="93"/>
                    </a:cubicBezTo>
                    <a:cubicBezTo>
                      <a:pt x="100" y="95"/>
                      <a:pt x="100" y="97"/>
                      <a:pt x="99" y="99"/>
                    </a:cubicBezTo>
                    <a:cubicBezTo>
                      <a:pt x="79" y="119"/>
                      <a:pt x="79" y="119"/>
                      <a:pt x="79" y="119"/>
                    </a:cubicBezTo>
                    <a:cubicBezTo>
                      <a:pt x="78" y="120"/>
                      <a:pt x="77" y="120"/>
                      <a:pt x="76" y="1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 72">
                <a:extLst>
                  <a:ext uri="{FF2B5EF4-FFF2-40B4-BE49-F238E27FC236}">
                    <a16:creationId xmlns:a16="http://schemas.microsoft.com/office/drawing/2014/main" id="{E18D71A6-DF59-4E6E-8CC0-BCDBE2A38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6836" y="4371483"/>
                <a:ext cx="376488" cy="450812"/>
              </a:xfrm>
              <a:custGeom>
                <a:avLst/>
                <a:gdLst>
                  <a:gd name="T0" fmla="*/ 32 w 100"/>
                  <a:gd name="T1" fmla="*/ 120 h 120"/>
                  <a:gd name="T2" fmla="*/ 24 w 100"/>
                  <a:gd name="T3" fmla="*/ 120 h 120"/>
                  <a:gd name="T4" fmla="*/ 21 w 100"/>
                  <a:gd name="T5" fmla="*/ 119 h 120"/>
                  <a:gd name="T6" fmla="*/ 1 w 100"/>
                  <a:gd name="T7" fmla="*/ 99 h 120"/>
                  <a:gd name="T8" fmla="*/ 1 w 100"/>
                  <a:gd name="T9" fmla="*/ 93 h 120"/>
                  <a:gd name="T10" fmla="*/ 7 w 100"/>
                  <a:gd name="T11" fmla="*/ 93 h 120"/>
                  <a:gd name="T12" fmla="*/ 26 w 100"/>
                  <a:gd name="T13" fmla="*/ 112 h 120"/>
                  <a:gd name="T14" fmla="*/ 30 w 100"/>
                  <a:gd name="T15" fmla="*/ 112 h 120"/>
                  <a:gd name="T16" fmla="*/ 92 w 100"/>
                  <a:gd name="T17" fmla="*/ 50 h 120"/>
                  <a:gd name="T18" fmla="*/ 92 w 100"/>
                  <a:gd name="T19" fmla="*/ 46 h 120"/>
                  <a:gd name="T20" fmla="*/ 53 w 100"/>
                  <a:gd name="T21" fmla="*/ 7 h 120"/>
                  <a:gd name="T22" fmla="*/ 53 w 100"/>
                  <a:gd name="T23" fmla="*/ 1 h 120"/>
                  <a:gd name="T24" fmla="*/ 59 w 100"/>
                  <a:gd name="T25" fmla="*/ 1 h 120"/>
                  <a:gd name="T26" fmla="*/ 99 w 100"/>
                  <a:gd name="T27" fmla="*/ 41 h 120"/>
                  <a:gd name="T28" fmla="*/ 100 w 100"/>
                  <a:gd name="T29" fmla="*/ 44 h 120"/>
                  <a:gd name="T30" fmla="*/ 100 w 100"/>
                  <a:gd name="T31" fmla="*/ 52 h 120"/>
                  <a:gd name="T32" fmla="*/ 99 w 100"/>
                  <a:gd name="T33" fmla="*/ 55 h 120"/>
                  <a:gd name="T34" fmla="*/ 35 w 100"/>
                  <a:gd name="T35" fmla="*/ 119 h 120"/>
                  <a:gd name="T36" fmla="*/ 32 w 100"/>
                  <a:gd name="T3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0" h="120">
                    <a:moveTo>
                      <a:pt x="32" y="120"/>
                    </a:moveTo>
                    <a:cubicBezTo>
                      <a:pt x="24" y="120"/>
                      <a:pt x="24" y="120"/>
                      <a:pt x="24" y="120"/>
                    </a:cubicBezTo>
                    <a:cubicBezTo>
                      <a:pt x="23" y="120"/>
                      <a:pt x="22" y="120"/>
                      <a:pt x="21" y="119"/>
                    </a:cubicBezTo>
                    <a:cubicBezTo>
                      <a:pt x="1" y="99"/>
                      <a:pt x="1" y="99"/>
                      <a:pt x="1" y="99"/>
                    </a:cubicBezTo>
                    <a:cubicBezTo>
                      <a:pt x="0" y="97"/>
                      <a:pt x="0" y="95"/>
                      <a:pt x="1" y="93"/>
                    </a:cubicBezTo>
                    <a:cubicBezTo>
                      <a:pt x="3" y="92"/>
                      <a:pt x="5" y="92"/>
                      <a:pt x="7" y="93"/>
                    </a:cubicBezTo>
                    <a:cubicBezTo>
                      <a:pt x="26" y="112"/>
                      <a:pt x="26" y="112"/>
                      <a:pt x="26" y="112"/>
                    </a:cubicBezTo>
                    <a:cubicBezTo>
                      <a:pt x="30" y="112"/>
                      <a:pt x="30" y="112"/>
                      <a:pt x="30" y="112"/>
                    </a:cubicBezTo>
                    <a:cubicBezTo>
                      <a:pt x="92" y="50"/>
                      <a:pt x="92" y="50"/>
                      <a:pt x="92" y="50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2" y="5"/>
                      <a:pt x="52" y="3"/>
                      <a:pt x="53" y="1"/>
                    </a:cubicBezTo>
                    <a:cubicBezTo>
                      <a:pt x="55" y="0"/>
                      <a:pt x="57" y="0"/>
                      <a:pt x="59" y="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100" y="42"/>
                      <a:pt x="100" y="43"/>
                      <a:pt x="100" y="44"/>
                    </a:cubicBezTo>
                    <a:cubicBezTo>
                      <a:pt x="100" y="52"/>
                      <a:pt x="100" y="52"/>
                      <a:pt x="100" y="52"/>
                    </a:cubicBezTo>
                    <a:cubicBezTo>
                      <a:pt x="100" y="53"/>
                      <a:pt x="100" y="54"/>
                      <a:pt x="99" y="55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4" y="120"/>
                      <a:pt x="33" y="120"/>
                      <a:pt x="32" y="1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 73">
                <a:extLst>
                  <a:ext uri="{FF2B5EF4-FFF2-40B4-BE49-F238E27FC236}">
                    <a16:creationId xmlns:a16="http://schemas.microsoft.com/office/drawing/2014/main" id="{9ED24D0B-4804-4757-B167-EFBC04368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0505" y="4656835"/>
                <a:ext cx="60167" cy="60167"/>
              </a:xfrm>
              <a:custGeom>
                <a:avLst/>
                <a:gdLst>
                  <a:gd name="T0" fmla="*/ 4 w 16"/>
                  <a:gd name="T1" fmla="*/ 16 h 16"/>
                  <a:gd name="T2" fmla="*/ 1 w 16"/>
                  <a:gd name="T3" fmla="*/ 15 h 16"/>
                  <a:gd name="T4" fmla="*/ 1 w 16"/>
                  <a:gd name="T5" fmla="*/ 9 h 16"/>
                  <a:gd name="T6" fmla="*/ 9 w 16"/>
                  <a:gd name="T7" fmla="*/ 1 h 16"/>
                  <a:gd name="T8" fmla="*/ 15 w 16"/>
                  <a:gd name="T9" fmla="*/ 1 h 16"/>
                  <a:gd name="T10" fmla="*/ 15 w 16"/>
                  <a:gd name="T11" fmla="*/ 7 h 16"/>
                  <a:gd name="T12" fmla="*/ 7 w 16"/>
                  <a:gd name="T13" fmla="*/ 15 h 16"/>
                  <a:gd name="T14" fmla="*/ 4 w 16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6">
                    <a:moveTo>
                      <a:pt x="4" y="16"/>
                    </a:moveTo>
                    <a:cubicBezTo>
                      <a:pt x="3" y="16"/>
                      <a:pt x="2" y="16"/>
                      <a:pt x="1" y="15"/>
                    </a:cubicBezTo>
                    <a:cubicBezTo>
                      <a:pt x="0" y="13"/>
                      <a:pt x="0" y="11"/>
                      <a:pt x="1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5" y="7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6"/>
                      <a:pt x="5" y="16"/>
                      <a:pt x="4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4" name="Freeform 74">
                <a:extLst>
                  <a:ext uri="{FF2B5EF4-FFF2-40B4-BE49-F238E27FC236}">
                    <a16:creationId xmlns:a16="http://schemas.microsoft.com/office/drawing/2014/main" id="{820A6344-9F18-49C5-ADEB-6C7EF1D76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7003" y="4656835"/>
                <a:ext cx="60167" cy="60167"/>
              </a:xfrm>
              <a:custGeom>
                <a:avLst/>
                <a:gdLst>
                  <a:gd name="T0" fmla="*/ 12 w 16"/>
                  <a:gd name="T1" fmla="*/ 16 h 16"/>
                  <a:gd name="T2" fmla="*/ 9 w 16"/>
                  <a:gd name="T3" fmla="*/ 15 h 16"/>
                  <a:gd name="T4" fmla="*/ 1 w 16"/>
                  <a:gd name="T5" fmla="*/ 7 h 16"/>
                  <a:gd name="T6" fmla="*/ 1 w 16"/>
                  <a:gd name="T7" fmla="*/ 1 h 16"/>
                  <a:gd name="T8" fmla="*/ 7 w 16"/>
                  <a:gd name="T9" fmla="*/ 1 h 16"/>
                  <a:gd name="T10" fmla="*/ 15 w 16"/>
                  <a:gd name="T11" fmla="*/ 9 h 16"/>
                  <a:gd name="T12" fmla="*/ 15 w 16"/>
                  <a:gd name="T13" fmla="*/ 15 h 16"/>
                  <a:gd name="T14" fmla="*/ 12 w 16"/>
                  <a:gd name="T1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6">
                    <a:moveTo>
                      <a:pt x="12" y="16"/>
                    </a:moveTo>
                    <a:cubicBezTo>
                      <a:pt x="11" y="16"/>
                      <a:pt x="10" y="16"/>
                      <a:pt x="9" y="1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6" y="11"/>
                      <a:pt x="16" y="13"/>
                      <a:pt x="15" y="15"/>
                    </a:cubicBezTo>
                    <a:cubicBezTo>
                      <a:pt x="14" y="16"/>
                      <a:pt x="13" y="16"/>
                      <a:pt x="12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5" name="Gruppieren 103">
              <a:extLst>
                <a:ext uri="{FF2B5EF4-FFF2-40B4-BE49-F238E27FC236}">
                  <a16:creationId xmlns:a16="http://schemas.microsoft.com/office/drawing/2014/main" id="{065A0F3E-1CEF-4BA2-9926-82F78000BA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89300" y="1334600"/>
              <a:ext cx="383813" cy="383999"/>
              <a:chOff x="1125270" y="5805398"/>
              <a:chExt cx="984432" cy="984917"/>
            </a:xfrm>
            <a:solidFill>
              <a:schemeClr val="accent6"/>
            </a:solidFill>
          </p:grpSpPr>
          <p:sp>
            <p:nvSpPr>
              <p:cNvPr id="56" name="Freeform 144">
                <a:extLst>
                  <a:ext uri="{FF2B5EF4-FFF2-40B4-BE49-F238E27FC236}">
                    <a16:creationId xmlns:a16="http://schemas.microsoft.com/office/drawing/2014/main" id="{86920502-92FD-4AFD-BCF5-5EDCC5A47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324" y="6287296"/>
                <a:ext cx="453737" cy="503019"/>
              </a:xfrm>
              <a:custGeom>
                <a:avLst/>
                <a:gdLst>
                  <a:gd name="T0" fmla="*/ 168 w 260"/>
                  <a:gd name="T1" fmla="*/ 288 h 288"/>
                  <a:gd name="T2" fmla="*/ 166 w 260"/>
                  <a:gd name="T3" fmla="*/ 288 h 288"/>
                  <a:gd name="T4" fmla="*/ 44 w 260"/>
                  <a:gd name="T5" fmla="*/ 157 h 288"/>
                  <a:gd name="T6" fmla="*/ 44 w 260"/>
                  <a:gd name="T7" fmla="*/ 151 h 288"/>
                  <a:gd name="T8" fmla="*/ 0 w 260"/>
                  <a:gd name="T9" fmla="*/ 107 h 288"/>
                  <a:gd name="T10" fmla="*/ 14 w 260"/>
                  <a:gd name="T11" fmla="*/ 94 h 288"/>
                  <a:gd name="T12" fmla="*/ 63 w 260"/>
                  <a:gd name="T13" fmla="*/ 144 h 288"/>
                  <a:gd name="T14" fmla="*/ 63 w 260"/>
                  <a:gd name="T15" fmla="*/ 157 h 288"/>
                  <a:gd name="T16" fmla="*/ 164 w 260"/>
                  <a:gd name="T17" fmla="*/ 269 h 288"/>
                  <a:gd name="T18" fmla="*/ 169 w 260"/>
                  <a:gd name="T19" fmla="*/ 267 h 288"/>
                  <a:gd name="T20" fmla="*/ 115 w 260"/>
                  <a:gd name="T21" fmla="*/ 213 h 288"/>
                  <a:gd name="T22" fmla="*/ 185 w 260"/>
                  <a:gd name="T23" fmla="*/ 144 h 288"/>
                  <a:gd name="T24" fmla="*/ 239 w 260"/>
                  <a:gd name="T25" fmla="*/ 197 h 288"/>
                  <a:gd name="T26" fmla="*/ 241 w 260"/>
                  <a:gd name="T27" fmla="*/ 192 h 288"/>
                  <a:gd name="T28" fmla="*/ 129 w 260"/>
                  <a:gd name="T29" fmla="*/ 91 h 288"/>
                  <a:gd name="T30" fmla="*/ 115 w 260"/>
                  <a:gd name="T31" fmla="*/ 91 h 288"/>
                  <a:gd name="T32" fmla="*/ 38 w 260"/>
                  <a:gd name="T33" fmla="*/ 14 h 288"/>
                  <a:gd name="T34" fmla="*/ 51 w 260"/>
                  <a:gd name="T35" fmla="*/ 0 h 288"/>
                  <a:gd name="T36" fmla="*/ 123 w 260"/>
                  <a:gd name="T37" fmla="*/ 73 h 288"/>
                  <a:gd name="T38" fmla="*/ 129 w 260"/>
                  <a:gd name="T39" fmla="*/ 73 h 288"/>
                  <a:gd name="T40" fmla="*/ 260 w 260"/>
                  <a:gd name="T41" fmla="*/ 194 h 288"/>
                  <a:gd name="T42" fmla="*/ 260 w 260"/>
                  <a:gd name="T43" fmla="*/ 197 h 288"/>
                  <a:gd name="T44" fmla="*/ 244 w 260"/>
                  <a:gd name="T45" fmla="*/ 229 h 288"/>
                  <a:gd name="T46" fmla="*/ 185 w 260"/>
                  <a:gd name="T47" fmla="*/ 170 h 288"/>
                  <a:gd name="T48" fmla="*/ 142 w 260"/>
                  <a:gd name="T49" fmla="*/ 213 h 288"/>
                  <a:gd name="T50" fmla="*/ 201 w 260"/>
                  <a:gd name="T51" fmla="*/ 272 h 288"/>
                  <a:gd name="T52" fmla="*/ 168 w 260"/>
                  <a:gd name="T53" fmla="*/ 288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60" h="288">
                    <a:moveTo>
                      <a:pt x="168" y="288"/>
                    </a:moveTo>
                    <a:cubicBezTo>
                      <a:pt x="166" y="288"/>
                      <a:pt x="166" y="288"/>
                      <a:pt x="166" y="288"/>
                    </a:cubicBezTo>
                    <a:cubicBezTo>
                      <a:pt x="84" y="288"/>
                      <a:pt x="44" y="245"/>
                      <a:pt x="44" y="157"/>
                    </a:cubicBezTo>
                    <a:cubicBezTo>
                      <a:pt x="44" y="151"/>
                      <a:pt x="44" y="151"/>
                      <a:pt x="44" y="151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14" y="94"/>
                      <a:pt x="14" y="94"/>
                      <a:pt x="14" y="94"/>
                    </a:cubicBezTo>
                    <a:cubicBezTo>
                      <a:pt x="63" y="144"/>
                      <a:pt x="63" y="144"/>
                      <a:pt x="63" y="144"/>
                    </a:cubicBezTo>
                    <a:cubicBezTo>
                      <a:pt x="63" y="157"/>
                      <a:pt x="63" y="157"/>
                      <a:pt x="63" y="157"/>
                    </a:cubicBezTo>
                    <a:cubicBezTo>
                      <a:pt x="63" y="234"/>
                      <a:pt x="94" y="269"/>
                      <a:pt x="164" y="269"/>
                    </a:cubicBezTo>
                    <a:cubicBezTo>
                      <a:pt x="169" y="267"/>
                      <a:pt x="169" y="267"/>
                      <a:pt x="169" y="267"/>
                    </a:cubicBezTo>
                    <a:cubicBezTo>
                      <a:pt x="115" y="213"/>
                      <a:pt x="115" y="213"/>
                      <a:pt x="115" y="213"/>
                    </a:cubicBezTo>
                    <a:cubicBezTo>
                      <a:pt x="185" y="144"/>
                      <a:pt x="185" y="144"/>
                      <a:pt x="185" y="144"/>
                    </a:cubicBezTo>
                    <a:cubicBezTo>
                      <a:pt x="239" y="197"/>
                      <a:pt x="239" y="197"/>
                      <a:pt x="239" y="197"/>
                    </a:cubicBezTo>
                    <a:cubicBezTo>
                      <a:pt x="241" y="192"/>
                      <a:pt x="241" y="192"/>
                      <a:pt x="241" y="192"/>
                    </a:cubicBezTo>
                    <a:cubicBezTo>
                      <a:pt x="240" y="122"/>
                      <a:pt x="206" y="91"/>
                      <a:pt x="129" y="91"/>
                    </a:cubicBezTo>
                    <a:cubicBezTo>
                      <a:pt x="115" y="91"/>
                      <a:pt x="115" y="91"/>
                      <a:pt x="115" y="91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123" y="73"/>
                      <a:pt x="123" y="73"/>
                      <a:pt x="123" y="73"/>
                    </a:cubicBezTo>
                    <a:cubicBezTo>
                      <a:pt x="129" y="73"/>
                      <a:pt x="129" y="73"/>
                      <a:pt x="129" y="73"/>
                    </a:cubicBezTo>
                    <a:cubicBezTo>
                      <a:pt x="217" y="73"/>
                      <a:pt x="260" y="112"/>
                      <a:pt x="260" y="194"/>
                    </a:cubicBezTo>
                    <a:cubicBezTo>
                      <a:pt x="260" y="197"/>
                      <a:pt x="260" y="197"/>
                      <a:pt x="260" y="197"/>
                    </a:cubicBezTo>
                    <a:cubicBezTo>
                      <a:pt x="244" y="229"/>
                      <a:pt x="244" y="229"/>
                      <a:pt x="244" y="229"/>
                    </a:cubicBezTo>
                    <a:cubicBezTo>
                      <a:pt x="185" y="170"/>
                      <a:pt x="185" y="170"/>
                      <a:pt x="185" y="170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201" y="272"/>
                      <a:pt x="201" y="272"/>
                      <a:pt x="201" y="272"/>
                    </a:cubicBezTo>
                    <a:lnTo>
                      <a:pt x="168" y="2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7" name="Freeform 145">
                <a:extLst>
                  <a:ext uri="{FF2B5EF4-FFF2-40B4-BE49-F238E27FC236}">
                    <a16:creationId xmlns:a16="http://schemas.microsoft.com/office/drawing/2014/main" id="{CB79B8E3-E977-4C9E-82DB-C78A3200E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270" y="5809040"/>
                <a:ext cx="500834" cy="452280"/>
              </a:xfrm>
              <a:custGeom>
                <a:avLst/>
                <a:gdLst>
                  <a:gd name="T0" fmla="*/ 180 w 287"/>
                  <a:gd name="T1" fmla="*/ 259 h 259"/>
                  <a:gd name="T2" fmla="*/ 136 w 287"/>
                  <a:gd name="T3" fmla="*/ 215 h 259"/>
                  <a:gd name="T4" fmla="*/ 131 w 287"/>
                  <a:gd name="T5" fmla="*/ 215 h 259"/>
                  <a:gd name="T6" fmla="*/ 0 w 287"/>
                  <a:gd name="T7" fmla="*/ 93 h 259"/>
                  <a:gd name="T8" fmla="*/ 0 w 287"/>
                  <a:gd name="T9" fmla="*/ 91 h 259"/>
                  <a:gd name="T10" fmla="*/ 16 w 287"/>
                  <a:gd name="T11" fmla="*/ 59 h 259"/>
                  <a:gd name="T12" fmla="*/ 75 w 287"/>
                  <a:gd name="T13" fmla="*/ 118 h 259"/>
                  <a:gd name="T14" fmla="*/ 118 w 287"/>
                  <a:gd name="T15" fmla="*/ 75 h 259"/>
                  <a:gd name="T16" fmla="*/ 59 w 287"/>
                  <a:gd name="T17" fmla="*/ 16 h 259"/>
                  <a:gd name="T18" fmla="*/ 91 w 287"/>
                  <a:gd name="T19" fmla="*/ 0 h 259"/>
                  <a:gd name="T20" fmla="*/ 93 w 287"/>
                  <a:gd name="T21" fmla="*/ 0 h 259"/>
                  <a:gd name="T22" fmla="*/ 215 w 287"/>
                  <a:gd name="T23" fmla="*/ 131 h 259"/>
                  <a:gd name="T24" fmla="*/ 215 w 287"/>
                  <a:gd name="T25" fmla="*/ 136 h 259"/>
                  <a:gd name="T26" fmla="*/ 287 w 287"/>
                  <a:gd name="T27" fmla="*/ 209 h 259"/>
                  <a:gd name="T28" fmla="*/ 274 w 287"/>
                  <a:gd name="T29" fmla="*/ 222 h 259"/>
                  <a:gd name="T30" fmla="*/ 196 w 287"/>
                  <a:gd name="T31" fmla="*/ 144 h 259"/>
                  <a:gd name="T32" fmla="*/ 196 w 287"/>
                  <a:gd name="T33" fmla="*/ 131 h 259"/>
                  <a:gd name="T34" fmla="*/ 96 w 287"/>
                  <a:gd name="T35" fmla="*/ 19 h 259"/>
                  <a:gd name="T36" fmla="*/ 90 w 287"/>
                  <a:gd name="T37" fmla="*/ 21 h 259"/>
                  <a:gd name="T38" fmla="*/ 144 w 287"/>
                  <a:gd name="T39" fmla="*/ 75 h 259"/>
                  <a:gd name="T40" fmla="*/ 75 w 287"/>
                  <a:gd name="T41" fmla="*/ 144 h 259"/>
                  <a:gd name="T42" fmla="*/ 21 w 287"/>
                  <a:gd name="T43" fmla="*/ 91 h 259"/>
                  <a:gd name="T44" fmla="*/ 18 w 287"/>
                  <a:gd name="T45" fmla="*/ 96 h 259"/>
                  <a:gd name="T46" fmla="*/ 131 w 287"/>
                  <a:gd name="T47" fmla="*/ 197 h 259"/>
                  <a:gd name="T48" fmla="*/ 144 w 287"/>
                  <a:gd name="T49" fmla="*/ 197 h 259"/>
                  <a:gd name="T50" fmla="*/ 194 w 287"/>
                  <a:gd name="T51" fmla="*/ 246 h 259"/>
                  <a:gd name="T52" fmla="*/ 180 w 287"/>
                  <a:gd name="T53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7" h="259">
                    <a:moveTo>
                      <a:pt x="180" y="259"/>
                    </a:moveTo>
                    <a:cubicBezTo>
                      <a:pt x="136" y="215"/>
                      <a:pt x="136" y="215"/>
                      <a:pt x="136" y="215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43" y="215"/>
                      <a:pt x="0" y="175"/>
                      <a:pt x="0" y="93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16" y="59"/>
                      <a:pt x="16" y="59"/>
                      <a:pt x="16" y="59"/>
                    </a:cubicBezTo>
                    <a:cubicBezTo>
                      <a:pt x="75" y="118"/>
                      <a:pt x="75" y="118"/>
                      <a:pt x="75" y="118"/>
                    </a:cubicBezTo>
                    <a:cubicBezTo>
                      <a:pt x="118" y="75"/>
                      <a:pt x="118" y="75"/>
                      <a:pt x="118" y="75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175" y="0"/>
                      <a:pt x="215" y="43"/>
                      <a:pt x="215" y="131"/>
                    </a:cubicBezTo>
                    <a:cubicBezTo>
                      <a:pt x="215" y="136"/>
                      <a:pt x="215" y="136"/>
                      <a:pt x="215" y="136"/>
                    </a:cubicBezTo>
                    <a:cubicBezTo>
                      <a:pt x="287" y="209"/>
                      <a:pt x="287" y="209"/>
                      <a:pt x="287" y="209"/>
                    </a:cubicBezTo>
                    <a:cubicBezTo>
                      <a:pt x="274" y="222"/>
                      <a:pt x="274" y="222"/>
                      <a:pt x="274" y="222"/>
                    </a:cubicBezTo>
                    <a:cubicBezTo>
                      <a:pt x="196" y="144"/>
                      <a:pt x="196" y="144"/>
                      <a:pt x="196" y="144"/>
                    </a:cubicBezTo>
                    <a:cubicBezTo>
                      <a:pt x="196" y="131"/>
                      <a:pt x="196" y="131"/>
                      <a:pt x="196" y="131"/>
                    </a:cubicBezTo>
                    <a:cubicBezTo>
                      <a:pt x="196" y="54"/>
                      <a:pt x="165" y="19"/>
                      <a:pt x="96" y="19"/>
                    </a:cubicBezTo>
                    <a:cubicBezTo>
                      <a:pt x="90" y="21"/>
                      <a:pt x="90" y="21"/>
                      <a:pt x="90" y="21"/>
                    </a:cubicBezTo>
                    <a:cubicBezTo>
                      <a:pt x="144" y="75"/>
                      <a:pt x="144" y="75"/>
                      <a:pt x="144" y="75"/>
                    </a:cubicBezTo>
                    <a:cubicBezTo>
                      <a:pt x="75" y="144"/>
                      <a:pt x="75" y="144"/>
                      <a:pt x="75" y="144"/>
                    </a:cubicBezTo>
                    <a:cubicBezTo>
                      <a:pt x="21" y="91"/>
                      <a:pt x="21" y="91"/>
                      <a:pt x="21" y="91"/>
                    </a:cubicBezTo>
                    <a:cubicBezTo>
                      <a:pt x="18" y="96"/>
                      <a:pt x="18" y="96"/>
                      <a:pt x="18" y="96"/>
                    </a:cubicBezTo>
                    <a:cubicBezTo>
                      <a:pt x="19" y="165"/>
                      <a:pt x="54" y="197"/>
                      <a:pt x="131" y="197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94" y="246"/>
                      <a:pt x="194" y="246"/>
                      <a:pt x="194" y="246"/>
                    </a:cubicBezTo>
                    <a:lnTo>
                      <a:pt x="180" y="25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8" name="Freeform 146">
                <a:extLst>
                  <a:ext uri="{FF2B5EF4-FFF2-40B4-BE49-F238E27FC236}">
                    <a16:creationId xmlns:a16="http://schemas.microsoft.com/office/drawing/2014/main" id="{9C6A4D4D-1B5A-4821-9DC0-6DDCD84369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5270" y="6259377"/>
                <a:ext cx="528753" cy="530938"/>
              </a:xfrm>
              <a:custGeom>
                <a:avLst/>
                <a:gdLst>
                  <a:gd name="T0" fmla="*/ 697 w 2178"/>
                  <a:gd name="T1" fmla="*/ 2187 h 2187"/>
                  <a:gd name="T2" fmla="*/ 510 w 2178"/>
                  <a:gd name="T3" fmla="*/ 2187 h 2187"/>
                  <a:gd name="T4" fmla="*/ 0 w 2178"/>
                  <a:gd name="T5" fmla="*/ 1676 h 2187"/>
                  <a:gd name="T6" fmla="*/ 0 w 2178"/>
                  <a:gd name="T7" fmla="*/ 1482 h 2187"/>
                  <a:gd name="T8" fmla="*/ 1481 w 2178"/>
                  <a:gd name="T9" fmla="*/ 0 h 2187"/>
                  <a:gd name="T10" fmla="*/ 2178 w 2178"/>
                  <a:gd name="T11" fmla="*/ 705 h 2187"/>
                  <a:gd name="T12" fmla="*/ 697 w 2178"/>
                  <a:gd name="T13" fmla="*/ 2187 h 2187"/>
                  <a:gd name="T14" fmla="*/ 561 w 2178"/>
                  <a:gd name="T15" fmla="*/ 2050 h 2187"/>
                  <a:gd name="T16" fmla="*/ 640 w 2178"/>
                  <a:gd name="T17" fmla="*/ 2050 h 2187"/>
                  <a:gd name="T18" fmla="*/ 1991 w 2178"/>
                  <a:gd name="T19" fmla="*/ 705 h 2187"/>
                  <a:gd name="T20" fmla="*/ 1481 w 2178"/>
                  <a:gd name="T21" fmla="*/ 195 h 2187"/>
                  <a:gd name="T22" fmla="*/ 129 w 2178"/>
                  <a:gd name="T23" fmla="*/ 1539 h 2187"/>
                  <a:gd name="T24" fmla="*/ 129 w 2178"/>
                  <a:gd name="T25" fmla="*/ 1619 h 2187"/>
                  <a:gd name="T26" fmla="*/ 561 w 2178"/>
                  <a:gd name="T27" fmla="*/ 2050 h 2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78" h="2187">
                    <a:moveTo>
                      <a:pt x="697" y="2187"/>
                    </a:moveTo>
                    <a:lnTo>
                      <a:pt x="510" y="2187"/>
                    </a:lnTo>
                    <a:lnTo>
                      <a:pt x="0" y="1676"/>
                    </a:lnTo>
                    <a:lnTo>
                      <a:pt x="0" y="1482"/>
                    </a:lnTo>
                    <a:lnTo>
                      <a:pt x="1481" y="0"/>
                    </a:lnTo>
                    <a:lnTo>
                      <a:pt x="2178" y="705"/>
                    </a:lnTo>
                    <a:lnTo>
                      <a:pt x="697" y="2187"/>
                    </a:lnTo>
                    <a:close/>
                    <a:moveTo>
                      <a:pt x="561" y="2050"/>
                    </a:moveTo>
                    <a:lnTo>
                      <a:pt x="640" y="2050"/>
                    </a:lnTo>
                    <a:lnTo>
                      <a:pt x="1991" y="705"/>
                    </a:lnTo>
                    <a:lnTo>
                      <a:pt x="1481" y="195"/>
                    </a:lnTo>
                    <a:lnTo>
                      <a:pt x="129" y="1539"/>
                    </a:lnTo>
                    <a:lnTo>
                      <a:pt x="129" y="1619"/>
                    </a:lnTo>
                    <a:lnTo>
                      <a:pt x="561" y="20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9" name="Freeform 147">
                <a:extLst>
                  <a:ext uri="{FF2B5EF4-FFF2-40B4-BE49-F238E27FC236}">
                    <a16:creationId xmlns:a16="http://schemas.microsoft.com/office/drawing/2014/main" id="{C76B37AF-F12B-4480-A5F1-A318D70B2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50" y="6228060"/>
                <a:ext cx="188632" cy="186690"/>
              </a:xfrm>
              <a:custGeom>
                <a:avLst/>
                <a:gdLst>
                  <a:gd name="T0" fmla="*/ 67 w 108"/>
                  <a:gd name="T1" fmla="*/ 107 h 107"/>
                  <a:gd name="T2" fmla="*/ 60 w 108"/>
                  <a:gd name="T3" fmla="*/ 104 h 107"/>
                  <a:gd name="T4" fmla="*/ 60 w 108"/>
                  <a:gd name="T5" fmla="*/ 91 h 107"/>
                  <a:gd name="T6" fmla="*/ 82 w 108"/>
                  <a:gd name="T7" fmla="*/ 69 h 107"/>
                  <a:gd name="T8" fmla="*/ 39 w 108"/>
                  <a:gd name="T9" fmla="*/ 26 h 107"/>
                  <a:gd name="T10" fmla="*/ 17 w 108"/>
                  <a:gd name="T11" fmla="*/ 48 h 107"/>
                  <a:gd name="T12" fmla="*/ 4 w 108"/>
                  <a:gd name="T13" fmla="*/ 48 h 107"/>
                  <a:gd name="T14" fmla="*/ 4 w 108"/>
                  <a:gd name="T15" fmla="*/ 34 h 107"/>
                  <a:gd name="T16" fmla="*/ 39 w 108"/>
                  <a:gd name="T17" fmla="*/ 0 h 107"/>
                  <a:gd name="T18" fmla="*/ 108 w 108"/>
                  <a:gd name="T19" fmla="*/ 69 h 107"/>
                  <a:gd name="T20" fmla="*/ 73 w 108"/>
                  <a:gd name="T21" fmla="*/ 104 h 107"/>
                  <a:gd name="T22" fmla="*/ 67 w 108"/>
                  <a:gd name="T23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8" h="107">
                    <a:moveTo>
                      <a:pt x="67" y="107"/>
                    </a:moveTo>
                    <a:cubicBezTo>
                      <a:pt x="64" y="107"/>
                      <a:pt x="62" y="106"/>
                      <a:pt x="60" y="104"/>
                    </a:cubicBezTo>
                    <a:cubicBezTo>
                      <a:pt x="56" y="100"/>
                      <a:pt x="56" y="94"/>
                      <a:pt x="60" y="91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4" y="51"/>
                      <a:pt x="8" y="51"/>
                      <a:pt x="4" y="48"/>
                    </a:cubicBezTo>
                    <a:cubicBezTo>
                      <a:pt x="0" y="44"/>
                      <a:pt x="0" y="38"/>
                      <a:pt x="4" y="3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108" y="69"/>
                      <a:pt x="108" y="69"/>
                      <a:pt x="108" y="69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72" y="106"/>
                      <a:pt x="69" y="107"/>
                      <a:pt x="67" y="10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0" name="Freeform 148">
                <a:extLst>
                  <a:ext uri="{FF2B5EF4-FFF2-40B4-BE49-F238E27FC236}">
                    <a16:creationId xmlns:a16="http://schemas.microsoft.com/office/drawing/2014/main" id="{2FD5CE79-34AD-44F4-AF5D-31E614825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0706" y="5805398"/>
                <a:ext cx="528996" cy="527296"/>
              </a:xfrm>
              <a:custGeom>
                <a:avLst/>
                <a:gdLst>
                  <a:gd name="T0" fmla="*/ 39 w 303"/>
                  <a:gd name="T1" fmla="*/ 302 h 302"/>
                  <a:gd name="T2" fmla="*/ 32 w 303"/>
                  <a:gd name="T3" fmla="*/ 299 h 302"/>
                  <a:gd name="T4" fmla="*/ 32 w 303"/>
                  <a:gd name="T5" fmla="*/ 286 h 302"/>
                  <a:gd name="T6" fmla="*/ 222 w 303"/>
                  <a:gd name="T7" fmla="*/ 95 h 302"/>
                  <a:gd name="T8" fmla="*/ 248 w 303"/>
                  <a:gd name="T9" fmla="*/ 95 h 302"/>
                  <a:gd name="T10" fmla="*/ 280 w 303"/>
                  <a:gd name="T11" fmla="*/ 32 h 302"/>
                  <a:gd name="T12" fmla="*/ 271 w 303"/>
                  <a:gd name="T13" fmla="*/ 23 h 302"/>
                  <a:gd name="T14" fmla="*/ 207 w 303"/>
                  <a:gd name="T15" fmla="*/ 54 h 302"/>
                  <a:gd name="T16" fmla="*/ 207 w 303"/>
                  <a:gd name="T17" fmla="*/ 81 h 302"/>
                  <a:gd name="T18" fmla="*/ 17 w 303"/>
                  <a:gd name="T19" fmla="*/ 271 h 302"/>
                  <a:gd name="T20" fmla="*/ 4 w 303"/>
                  <a:gd name="T21" fmla="*/ 271 h 302"/>
                  <a:gd name="T22" fmla="*/ 4 w 303"/>
                  <a:gd name="T23" fmla="*/ 258 h 302"/>
                  <a:gd name="T24" fmla="*/ 188 w 303"/>
                  <a:gd name="T25" fmla="*/ 73 h 302"/>
                  <a:gd name="T26" fmla="*/ 188 w 303"/>
                  <a:gd name="T27" fmla="*/ 43 h 302"/>
                  <a:gd name="T28" fmla="*/ 275 w 303"/>
                  <a:gd name="T29" fmla="*/ 0 h 302"/>
                  <a:gd name="T30" fmla="*/ 303 w 303"/>
                  <a:gd name="T31" fmla="*/ 28 h 302"/>
                  <a:gd name="T32" fmla="*/ 260 w 303"/>
                  <a:gd name="T33" fmla="*/ 114 h 302"/>
                  <a:gd name="T34" fmla="*/ 230 w 303"/>
                  <a:gd name="T35" fmla="*/ 114 h 302"/>
                  <a:gd name="T36" fmla="*/ 45 w 303"/>
                  <a:gd name="T37" fmla="*/ 299 h 302"/>
                  <a:gd name="T38" fmla="*/ 39 w 303"/>
                  <a:gd name="T3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3" h="302">
                    <a:moveTo>
                      <a:pt x="39" y="302"/>
                    </a:moveTo>
                    <a:cubicBezTo>
                      <a:pt x="36" y="302"/>
                      <a:pt x="34" y="301"/>
                      <a:pt x="32" y="299"/>
                    </a:cubicBezTo>
                    <a:cubicBezTo>
                      <a:pt x="28" y="295"/>
                      <a:pt x="28" y="289"/>
                      <a:pt x="32" y="286"/>
                    </a:cubicBezTo>
                    <a:cubicBezTo>
                      <a:pt x="222" y="95"/>
                      <a:pt x="222" y="95"/>
                      <a:pt x="222" y="95"/>
                    </a:cubicBezTo>
                    <a:cubicBezTo>
                      <a:pt x="248" y="95"/>
                      <a:pt x="248" y="95"/>
                      <a:pt x="248" y="95"/>
                    </a:cubicBezTo>
                    <a:cubicBezTo>
                      <a:pt x="280" y="32"/>
                      <a:pt x="280" y="32"/>
                      <a:pt x="280" y="32"/>
                    </a:cubicBezTo>
                    <a:cubicBezTo>
                      <a:pt x="271" y="23"/>
                      <a:pt x="271" y="23"/>
                      <a:pt x="271" y="23"/>
                    </a:cubicBezTo>
                    <a:cubicBezTo>
                      <a:pt x="207" y="54"/>
                      <a:pt x="207" y="54"/>
                      <a:pt x="207" y="54"/>
                    </a:cubicBezTo>
                    <a:cubicBezTo>
                      <a:pt x="207" y="81"/>
                      <a:pt x="207" y="81"/>
                      <a:pt x="207" y="81"/>
                    </a:cubicBezTo>
                    <a:cubicBezTo>
                      <a:pt x="17" y="271"/>
                      <a:pt x="17" y="271"/>
                      <a:pt x="17" y="271"/>
                    </a:cubicBezTo>
                    <a:cubicBezTo>
                      <a:pt x="13" y="274"/>
                      <a:pt x="7" y="274"/>
                      <a:pt x="4" y="271"/>
                    </a:cubicBezTo>
                    <a:cubicBezTo>
                      <a:pt x="0" y="267"/>
                      <a:pt x="0" y="261"/>
                      <a:pt x="4" y="258"/>
                    </a:cubicBezTo>
                    <a:cubicBezTo>
                      <a:pt x="188" y="73"/>
                      <a:pt x="188" y="73"/>
                      <a:pt x="188" y="73"/>
                    </a:cubicBezTo>
                    <a:cubicBezTo>
                      <a:pt x="188" y="43"/>
                      <a:pt x="188" y="43"/>
                      <a:pt x="188" y="43"/>
                    </a:cubicBezTo>
                    <a:cubicBezTo>
                      <a:pt x="275" y="0"/>
                      <a:pt x="275" y="0"/>
                      <a:pt x="275" y="0"/>
                    </a:cubicBezTo>
                    <a:cubicBezTo>
                      <a:pt x="303" y="28"/>
                      <a:pt x="303" y="28"/>
                      <a:pt x="303" y="28"/>
                    </a:cubicBezTo>
                    <a:cubicBezTo>
                      <a:pt x="260" y="114"/>
                      <a:pt x="260" y="114"/>
                      <a:pt x="260" y="114"/>
                    </a:cubicBezTo>
                    <a:cubicBezTo>
                      <a:pt x="230" y="114"/>
                      <a:pt x="230" y="114"/>
                      <a:pt x="230" y="114"/>
                    </a:cubicBezTo>
                    <a:cubicBezTo>
                      <a:pt x="45" y="299"/>
                      <a:pt x="45" y="299"/>
                      <a:pt x="45" y="299"/>
                    </a:cubicBezTo>
                    <a:cubicBezTo>
                      <a:pt x="43" y="301"/>
                      <a:pt x="41" y="302"/>
                      <a:pt x="39" y="30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1" name="Freeform 149">
                <a:extLst>
                  <a:ext uri="{FF2B5EF4-FFF2-40B4-BE49-F238E27FC236}">
                    <a16:creationId xmlns:a16="http://schemas.microsoft.com/office/drawing/2014/main" id="{ADF7F2C9-3D24-4694-944B-CADA0CCE7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5384" y="6362555"/>
                <a:ext cx="296908" cy="296665"/>
              </a:xfrm>
              <a:custGeom>
                <a:avLst/>
                <a:gdLst>
                  <a:gd name="T0" fmla="*/ 10 w 170"/>
                  <a:gd name="T1" fmla="*/ 170 h 170"/>
                  <a:gd name="T2" fmla="*/ 3 w 170"/>
                  <a:gd name="T3" fmla="*/ 167 h 170"/>
                  <a:gd name="T4" fmla="*/ 3 w 170"/>
                  <a:gd name="T5" fmla="*/ 154 h 170"/>
                  <a:gd name="T6" fmla="*/ 153 w 170"/>
                  <a:gd name="T7" fmla="*/ 4 h 170"/>
                  <a:gd name="T8" fmla="*/ 166 w 170"/>
                  <a:gd name="T9" fmla="*/ 4 h 170"/>
                  <a:gd name="T10" fmla="*/ 166 w 170"/>
                  <a:gd name="T11" fmla="*/ 17 h 170"/>
                  <a:gd name="T12" fmla="*/ 16 w 170"/>
                  <a:gd name="T13" fmla="*/ 167 h 170"/>
                  <a:gd name="T14" fmla="*/ 10 w 170"/>
                  <a:gd name="T15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0" h="170">
                    <a:moveTo>
                      <a:pt x="10" y="170"/>
                    </a:moveTo>
                    <a:cubicBezTo>
                      <a:pt x="7" y="170"/>
                      <a:pt x="5" y="169"/>
                      <a:pt x="3" y="167"/>
                    </a:cubicBezTo>
                    <a:cubicBezTo>
                      <a:pt x="0" y="164"/>
                      <a:pt x="0" y="158"/>
                      <a:pt x="3" y="154"/>
                    </a:cubicBezTo>
                    <a:cubicBezTo>
                      <a:pt x="153" y="4"/>
                      <a:pt x="153" y="4"/>
                      <a:pt x="153" y="4"/>
                    </a:cubicBezTo>
                    <a:cubicBezTo>
                      <a:pt x="157" y="0"/>
                      <a:pt x="163" y="0"/>
                      <a:pt x="166" y="4"/>
                    </a:cubicBezTo>
                    <a:cubicBezTo>
                      <a:pt x="170" y="8"/>
                      <a:pt x="170" y="14"/>
                      <a:pt x="166" y="17"/>
                    </a:cubicBezTo>
                    <a:cubicBezTo>
                      <a:pt x="16" y="167"/>
                      <a:pt x="16" y="167"/>
                      <a:pt x="16" y="167"/>
                    </a:cubicBezTo>
                    <a:cubicBezTo>
                      <a:pt x="15" y="169"/>
                      <a:pt x="12" y="170"/>
                      <a:pt x="10" y="17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2" name="Freeform 150">
                <a:extLst>
                  <a:ext uri="{FF2B5EF4-FFF2-40B4-BE49-F238E27FC236}">
                    <a16:creationId xmlns:a16="http://schemas.microsoft.com/office/drawing/2014/main" id="{444AD38C-3771-4D06-AF8B-CBFA89E87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424" y="6413051"/>
                <a:ext cx="296665" cy="295208"/>
              </a:xfrm>
              <a:custGeom>
                <a:avLst/>
                <a:gdLst>
                  <a:gd name="T0" fmla="*/ 10 w 170"/>
                  <a:gd name="T1" fmla="*/ 169 h 169"/>
                  <a:gd name="T2" fmla="*/ 3 w 170"/>
                  <a:gd name="T3" fmla="*/ 166 h 169"/>
                  <a:gd name="T4" fmla="*/ 3 w 170"/>
                  <a:gd name="T5" fmla="*/ 153 h 169"/>
                  <a:gd name="T6" fmla="*/ 153 w 170"/>
                  <a:gd name="T7" fmla="*/ 3 h 169"/>
                  <a:gd name="T8" fmla="*/ 167 w 170"/>
                  <a:gd name="T9" fmla="*/ 3 h 169"/>
                  <a:gd name="T10" fmla="*/ 167 w 170"/>
                  <a:gd name="T11" fmla="*/ 17 h 169"/>
                  <a:gd name="T12" fmla="*/ 17 w 170"/>
                  <a:gd name="T13" fmla="*/ 166 h 169"/>
                  <a:gd name="T14" fmla="*/ 10 w 170"/>
                  <a:gd name="T15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0" h="169">
                    <a:moveTo>
                      <a:pt x="10" y="169"/>
                    </a:moveTo>
                    <a:cubicBezTo>
                      <a:pt x="8" y="169"/>
                      <a:pt x="5" y="168"/>
                      <a:pt x="3" y="166"/>
                    </a:cubicBezTo>
                    <a:cubicBezTo>
                      <a:pt x="0" y="163"/>
                      <a:pt x="0" y="157"/>
                      <a:pt x="3" y="153"/>
                    </a:cubicBezTo>
                    <a:cubicBezTo>
                      <a:pt x="153" y="3"/>
                      <a:pt x="153" y="3"/>
                      <a:pt x="153" y="3"/>
                    </a:cubicBezTo>
                    <a:cubicBezTo>
                      <a:pt x="157" y="0"/>
                      <a:pt x="163" y="0"/>
                      <a:pt x="167" y="3"/>
                    </a:cubicBezTo>
                    <a:cubicBezTo>
                      <a:pt x="170" y="7"/>
                      <a:pt x="170" y="13"/>
                      <a:pt x="167" y="17"/>
                    </a:cubicBezTo>
                    <a:cubicBezTo>
                      <a:pt x="17" y="166"/>
                      <a:pt x="17" y="166"/>
                      <a:pt x="17" y="166"/>
                    </a:cubicBezTo>
                    <a:cubicBezTo>
                      <a:pt x="15" y="168"/>
                      <a:pt x="12" y="169"/>
                      <a:pt x="10" y="16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3" name="Gruppieren 111">
              <a:extLst>
                <a:ext uri="{FF2B5EF4-FFF2-40B4-BE49-F238E27FC236}">
                  <a16:creationId xmlns:a16="http://schemas.microsoft.com/office/drawing/2014/main" id="{05885F3F-A19D-4E3B-81F3-6F05B6D2A0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11339" y="1644681"/>
              <a:ext cx="383794" cy="384002"/>
              <a:chOff x="-58778776" y="-14732000"/>
              <a:chExt cx="11266487" cy="11272838"/>
            </a:xfrm>
            <a:solidFill>
              <a:schemeClr val="accent3"/>
            </a:solidFill>
          </p:grpSpPr>
          <p:sp>
            <p:nvSpPr>
              <p:cNvPr id="64" name="Freeform 662">
                <a:extLst>
                  <a:ext uri="{FF2B5EF4-FFF2-40B4-BE49-F238E27FC236}">
                    <a16:creationId xmlns:a16="http://schemas.microsoft.com/office/drawing/2014/main" id="{D7D60EF8-900B-4D46-BB75-6B8032C9B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1209576" y="-7862888"/>
                <a:ext cx="1057275" cy="2466975"/>
              </a:xfrm>
              <a:custGeom>
                <a:avLst/>
                <a:gdLst>
                  <a:gd name="T0" fmla="*/ 666 w 666"/>
                  <a:gd name="T1" fmla="*/ 1554 h 1554"/>
                  <a:gd name="T2" fmla="*/ 0 w 666"/>
                  <a:gd name="T3" fmla="*/ 1554 h 1554"/>
                  <a:gd name="T4" fmla="*/ 0 w 666"/>
                  <a:gd name="T5" fmla="*/ 0 h 1554"/>
                  <a:gd name="T6" fmla="*/ 222 w 666"/>
                  <a:gd name="T7" fmla="*/ 0 h 1554"/>
                  <a:gd name="T8" fmla="*/ 222 w 666"/>
                  <a:gd name="T9" fmla="*/ 1332 h 1554"/>
                  <a:gd name="T10" fmla="*/ 666 w 666"/>
                  <a:gd name="T11" fmla="*/ 1332 h 1554"/>
                  <a:gd name="T12" fmla="*/ 666 w 666"/>
                  <a:gd name="T13" fmla="*/ 1554 h 1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6" h="1554">
                    <a:moveTo>
                      <a:pt x="666" y="1554"/>
                    </a:moveTo>
                    <a:lnTo>
                      <a:pt x="0" y="1554"/>
                    </a:lnTo>
                    <a:lnTo>
                      <a:pt x="0" y="0"/>
                    </a:lnTo>
                    <a:lnTo>
                      <a:pt x="222" y="0"/>
                    </a:lnTo>
                    <a:lnTo>
                      <a:pt x="222" y="1332"/>
                    </a:lnTo>
                    <a:lnTo>
                      <a:pt x="666" y="1332"/>
                    </a:lnTo>
                    <a:lnTo>
                      <a:pt x="666" y="155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5" name="Freeform 663">
                <a:extLst>
                  <a:ext uri="{FF2B5EF4-FFF2-40B4-BE49-F238E27FC236}">
                    <a16:creationId xmlns:a16="http://schemas.microsoft.com/office/drawing/2014/main" id="{D808D2C0-B9B2-4A09-943C-140093CB2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265263" y="-7334250"/>
                <a:ext cx="2112962" cy="3875088"/>
              </a:xfrm>
              <a:custGeom>
                <a:avLst/>
                <a:gdLst>
                  <a:gd name="T0" fmla="*/ 887 w 1331"/>
                  <a:gd name="T1" fmla="*/ 2441 h 2441"/>
                  <a:gd name="T2" fmla="*/ 0 w 1331"/>
                  <a:gd name="T3" fmla="*/ 2441 h 2441"/>
                  <a:gd name="T4" fmla="*/ 0 w 1331"/>
                  <a:gd name="T5" fmla="*/ 0 h 2441"/>
                  <a:gd name="T6" fmla="*/ 222 w 1331"/>
                  <a:gd name="T7" fmla="*/ 0 h 2441"/>
                  <a:gd name="T8" fmla="*/ 222 w 1331"/>
                  <a:gd name="T9" fmla="*/ 2219 h 2441"/>
                  <a:gd name="T10" fmla="*/ 665 w 1331"/>
                  <a:gd name="T11" fmla="*/ 2219 h 2441"/>
                  <a:gd name="T12" fmla="*/ 665 w 1331"/>
                  <a:gd name="T13" fmla="*/ 1887 h 2441"/>
                  <a:gd name="T14" fmla="*/ 1109 w 1331"/>
                  <a:gd name="T15" fmla="*/ 1887 h 2441"/>
                  <a:gd name="T16" fmla="*/ 1109 w 1331"/>
                  <a:gd name="T17" fmla="*/ 1665 h 2441"/>
                  <a:gd name="T18" fmla="*/ 665 w 1331"/>
                  <a:gd name="T19" fmla="*/ 1665 h 2441"/>
                  <a:gd name="T20" fmla="*/ 665 w 1331"/>
                  <a:gd name="T21" fmla="*/ 1443 h 2441"/>
                  <a:gd name="T22" fmla="*/ 1331 w 1331"/>
                  <a:gd name="T23" fmla="*/ 1443 h 2441"/>
                  <a:gd name="T24" fmla="*/ 1331 w 1331"/>
                  <a:gd name="T25" fmla="*/ 2108 h 2441"/>
                  <a:gd name="T26" fmla="*/ 887 w 1331"/>
                  <a:gd name="T27" fmla="*/ 2108 h 2441"/>
                  <a:gd name="T28" fmla="*/ 887 w 1331"/>
                  <a:gd name="T29" fmla="*/ 2441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31" h="2441">
                    <a:moveTo>
                      <a:pt x="887" y="2441"/>
                    </a:moveTo>
                    <a:lnTo>
                      <a:pt x="0" y="2441"/>
                    </a:lnTo>
                    <a:lnTo>
                      <a:pt x="0" y="0"/>
                    </a:lnTo>
                    <a:lnTo>
                      <a:pt x="222" y="0"/>
                    </a:lnTo>
                    <a:lnTo>
                      <a:pt x="222" y="2219"/>
                    </a:lnTo>
                    <a:lnTo>
                      <a:pt x="665" y="2219"/>
                    </a:lnTo>
                    <a:lnTo>
                      <a:pt x="665" y="1887"/>
                    </a:lnTo>
                    <a:lnTo>
                      <a:pt x="1109" y="1887"/>
                    </a:lnTo>
                    <a:lnTo>
                      <a:pt x="1109" y="1665"/>
                    </a:lnTo>
                    <a:lnTo>
                      <a:pt x="665" y="1665"/>
                    </a:lnTo>
                    <a:lnTo>
                      <a:pt x="665" y="1443"/>
                    </a:lnTo>
                    <a:lnTo>
                      <a:pt x="1331" y="1443"/>
                    </a:lnTo>
                    <a:lnTo>
                      <a:pt x="1331" y="2108"/>
                    </a:lnTo>
                    <a:lnTo>
                      <a:pt x="887" y="2108"/>
                    </a:lnTo>
                    <a:lnTo>
                      <a:pt x="887" y="244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6" name="Freeform 664">
                <a:extLst>
                  <a:ext uri="{FF2B5EF4-FFF2-40B4-BE49-F238E27FC236}">
                    <a16:creationId xmlns:a16="http://schemas.microsoft.com/office/drawing/2014/main" id="{E21EC60F-02D0-4CD8-9462-74C628DB76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2441476" y="-11561763"/>
                <a:ext cx="1760537" cy="1762125"/>
              </a:xfrm>
              <a:custGeom>
                <a:avLst/>
                <a:gdLst>
                  <a:gd name="T0" fmla="*/ 20 w 40"/>
                  <a:gd name="T1" fmla="*/ 40 h 40"/>
                  <a:gd name="T2" fmla="*/ 0 w 40"/>
                  <a:gd name="T3" fmla="*/ 20 h 40"/>
                  <a:gd name="T4" fmla="*/ 20 w 40"/>
                  <a:gd name="T5" fmla="*/ 0 h 40"/>
                  <a:gd name="T6" fmla="*/ 40 w 40"/>
                  <a:gd name="T7" fmla="*/ 20 h 40"/>
                  <a:gd name="T8" fmla="*/ 20 w 40"/>
                  <a:gd name="T9" fmla="*/ 40 h 40"/>
                  <a:gd name="T10" fmla="*/ 20 w 40"/>
                  <a:gd name="T11" fmla="*/ 8 h 40"/>
                  <a:gd name="T12" fmla="*/ 8 w 40"/>
                  <a:gd name="T13" fmla="*/ 20 h 40"/>
                  <a:gd name="T14" fmla="*/ 20 w 40"/>
                  <a:gd name="T15" fmla="*/ 32 h 40"/>
                  <a:gd name="T16" fmla="*/ 32 w 40"/>
                  <a:gd name="T17" fmla="*/ 20 h 40"/>
                  <a:gd name="T18" fmla="*/ 20 w 40"/>
                  <a:gd name="T1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8"/>
                    </a:moveTo>
                    <a:cubicBezTo>
                      <a:pt x="13" y="8"/>
                      <a:pt x="8" y="13"/>
                      <a:pt x="8" y="20"/>
                    </a:cubicBezTo>
                    <a:cubicBezTo>
                      <a:pt x="8" y="27"/>
                      <a:pt x="13" y="32"/>
                      <a:pt x="20" y="32"/>
                    </a:cubicBezTo>
                    <a:cubicBezTo>
                      <a:pt x="27" y="32"/>
                      <a:pt x="32" y="27"/>
                      <a:pt x="32" y="20"/>
                    </a:cubicBezTo>
                    <a:cubicBezTo>
                      <a:pt x="32" y="13"/>
                      <a:pt x="27" y="8"/>
                      <a:pt x="20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7" name="Freeform 665">
                <a:extLst>
                  <a:ext uri="{FF2B5EF4-FFF2-40B4-BE49-F238E27FC236}">
                    <a16:creationId xmlns:a16="http://schemas.microsoft.com/office/drawing/2014/main" id="{93023366-E936-4B10-B167-D91EF7867D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3849588" y="-12266613"/>
                <a:ext cx="4576762" cy="4579938"/>
              </a:xfrm>
              <a:custGeom>
                <a:avLst/>
                <a:gdLst>
                  <a:gd name="T0" fmla="*/ 52 w 104"/>
                  <a:gd name="T1" fmla="*/ 104 h 104"/>
                  <a:gd name="T2" fmla="*/ 0 w 104"/>
                  <a:gd name="T3" fmla="*/ 52 h 104"/>
                  <a:gd name="T4" fmla="*/ 52 w 104"/>
                  <a:gd name="T5" fmla="*/ 0 h 104"/>
                  <a:gd name="T6" fmla="*/ 104 w 104"/>
                  <a:gd name="T7" fmla="*/ 52 h 104"/>
                  <a:gd name="T8" fmla="*/ 52 w 104"/>
                  <a:gd name="T9" fmla="*/ 104 h 104"/>
                  <a:gd name="T10" fmla="*/ 52 w 104"/>
                  <a:gd name="T11" fmla="*/ 8 h 104"/>
                  <a:gd name="T12" fmla="*/ 8 w 104"/>
                  <a:gd name="T13" fmla="*/ 52 h 104"/>
                  <a:gd name="T14" fmla="*/ 52 w 104"/>
                  <a:gd name="T15" fmla="*/ 96 h 104"/>
                  <a:gd name="T16" fmla="*/ 96 w 104"/>
                  <a:gd name="T17" fmla="*/ 52 h 104"/>
                  <a:gd name="T18" fmla="*/ 52 w 104"/>
                  <a:gd name="T19" fmla="*/ 8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4" h="104">
                    <a:moveTo>
                      <a:pt x="52" y="104"/>
                    </a:moveTo>
                    <a:cubicBezTo>
                      <a:pt x="23" y="104"/>
                      <a:pt x="0" y="81"/>
                      <a:pt x="0" y="52"/>
                    </a:cubicBezTo>
                    <a:cubicBezTo>
                      <a:pt x="0" y="23"/>
                      <a:pt x="23" y="0"/>
                      <a:pt x="52" y="0"/>
                    </a:cubicBezTo>
                    <a:cubicBezTo>
                      <a:pt x="81" y="0"/>
                      <a:pt x="104" y="23"/>
                      <a:pt x="104" y="52"/>
                    </a:cubicBezTo>
                    <a:cubicBezTo>
                      <a:pt x="104" y="81"/>
                      <a:pt x="81" y="104"/>
                      <a:pt x="52" y="104"/>
                    </a:cubicBezTo>
                    <a:close/>
                    <a:moveTo>
                      <a:pt x="52" y="8"/>
                    </a:moveTo>
                    <a:cubicBezTo>
                      <a:pt x="28" y="8"/>
                      <a:pt x="8" y="28"/>
                      <a:pt x="8" y="52"/>
                    </a:cubicBezTo>
                    <a:cubicBezTo>
                      <a:pt x="8" y="76"/>
                      <a:pt x="28" y="96"/>
                      <a:pt x="52" y="96"/>
                    </a:cubicBezTo>
                    <a:cubicBezTo>
                      <a:pt x="76" y="96"/>
                      <a:pt x="96" y="76"/>
                      <a:pt x="96" y="52"/>
                    </a:cubicBezTo>
                    <a:cubicBezTo>
                      <a:pt x="96" y="28"/>
                      <a:pt x="76" y="8"/>
                      <a:pt x="52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8" name="Freeform 666">
                <a:extLst>
                  <a:ext uri="{FF2B5EF4-FFF2-40B4-BE49-F238E27FC236}">
                    <a16:creationId xmlns:a16="http://schemas.microsoft.com/office/drawing/2014/main" id="{CCDC258D-B5B1-4DD9-9D3D-25E286C66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8778776" y="-10283825"/>
                <a:ext cx="4005262" cy="4359275"/>
              </a:xfrm>
              <a:custGeom>
                <a:avLst/>
                <a:gdLst>
                  <a:gd name="T0" fmla="*/ 1109 w 2523"/>
                  <a:gd name="T1" fmla="*/ 2746 h 2746"/>
                  <a:gd name="T2" fmla="*/ 0 w 2523"/>
                  <a:gd name="T3" fmla="*/ 2746 h 2746"/>
                  <a:gd name="T4" fmla="*/ 0 w 2523"/>
                  <a:gd name="T5" fmla="*/ 2025 h 2746"/>
                  <a:gd name="T6" fmla="*/ 2024 w 2523"/>
                  <a:gd name="T7" fmla="*/ 0 h 2746"/>
                  <a:gd name="T8" fmla="*/ 2190 w 2523"/>
                  <a:gd name="T9" fmla="*/ 166 h 2746"/>
                  <a:gd name="T10" fmla="*/ 222 w 2523"/>
                  <a:gd name="T11" fmla="*/ 2136 h 2746"/>
                  <a:gd name="T12" fmla="*/ 222 w 2523"/>
                  <a:gd name="T13" fmla="*/ 2524 h 2746"/>
                  <a:gd name="T14" fmla="*/ 887 w 2523"/>
                  <a:gd name="T15" fmla="*/ 2524 h 2746"/>
                  <a:gd name="T16" fmla="*/ 887 w 2523"/>
                  <a:gd name="T17" fmla="*/ 2191 h 2746"/>
                  <a:gd name="T18" fmla="*/ 1331 w 2523"/>
                  <a:gd name="T19" fmla="*/ 2191 h 2746"/>
                  <a:gd name="T20" fmla="*/ 1331 w 2523"/>
                  <a:gd name="T21" fmla="*/ 1747 h 2746"/>
                  <a:gd name="T22" fmla="*/ 1774 w 2523"/>
                  <a:gd name="T23" fmla="*/ 1747 h 2746"/>
                  <a:gd name="T24" fmla="*/ 1774 w 2523"/>
                  <a:gd name="T25" fmla="*/ 1359 h 2746"/>
                  <a:gd name="T26" fmla="*/ 2356 w 2523"/>
                  <a:gd name="T27" fmla="*/ 776 h 2746"/>
                  <a:gd name="T28" fmla="*/ 2523 w 2523"/>
                  <a:gd name="T29" fmla="*/ 943 h 2746"/>
                  <a:gd name="T30" fmla="*/ 1996 w 2523"/>
                  <a:gd name="T31" fmla="*/ 1470 h 2746"/>
                  <a:gd name="T32" fmla="*/ 1996 w 2523"/>
                  <a:gd name="T33" fmla="*/ 1969 h 2746"/>
                  <a:gd name="T34" fmla="*/ 1553 w 2523"/>
                  <a:gd name="T35" fmla="*/ 1969 h 2746"/>
                  <a:gd name="T36" fmla="*/ 1553 w 2523"/>
                  <a:gd name="T37" fmla="*/ 2413 h 2746"/>
                  <a:gd name="T38" fmla="*/ 1109 w 2523"/>
                  <a:gd name="T39" fmla="*/ 2413 h 2746"/>
                  <a:gd name="T40" fmla="*/ 1109 w 2523"/>
                  <a:gd name="T41" fmla="*/ 2746 h 2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3" h="2746">
                    <a:moveTo>
                      <a:pt x="1109" y="2746"/>
                    </a:moveTo>
                    <a:lnTo>
                      <a:pt x="0" y="2746"/>
                    </a:lnTo>
                    <a:lnTo>
                      <a:pt x="0" y="2025"/>
                    </a:lnTo>
                    <a:lnTo>
                      <a:pt x="2024" y="0"/>
                    </a:lnTo>
                    <a:lnTo>
                      <a:pt x="2190" y="166"/>
                    </a:lnTo>
                    <a:lnTo>
                      <a:pt x="222" y="2136"/>
                    </a:lnTo>
                    <a:lnTo>
                      <a:pt x="222" y="2524"/>
                    </a:lnTo>
                    <a:lnTo>
                      <a:pt x="887" y="2524"/>
                    </a:lnTo>
                    <a:lnTo>
                      <a:pt x="887" y="2191"/>
                    </a:lnTo>
                    <a:lnTo>
                      <a:pt x="1331" y="2191"/>
                    </a:lnTo>
                    <a:lnTo>
                      <a:pt x="1331" y="1747"/>
                    </a:lnTo>
                    <a:lnTo>
                      <a:pt x="1774" y="1747"/>
                    </a:lnTo>
                    <a:lnTo>
                      <a:pt x="1774" y="1359"/>
                    </a:lnTo>
                    <a:lnTo>
                      <a:pt x="2356" y="776"/>
                    </a:lnTo>
                    <a:lnTo>
                      <a:pt x="2523" y="943"/>
                    </a:lnTo>
                    <a:lnTo>
                      <a:pt x="1996" y="1470"/>
                    </a:lnTo>
                    <a:lnTo>
                      <a:pt x="1996" y="1969"/>
                    </a:lnTo>
                    <a:lnTo>
                      <a:pt x="1553" y="1969"/>
                    </a:lnTo>
                    <a:lnTo>
                      <a:pt x="1553" y="2413"/>
                    </a:lnTo>
                    <a:lnTo>
                      <a:pt x="1109" y="2413"/>
                    </a:lnTo>
                    <a:lnTo>
                      <a:pt x="1109" y="27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69" name="Freeform 667">
                <a:extLst>
                  <a:ext uri="{FF2B5EF4-FFF2-40B4-BE49-F238E27FC236}">
                    <a16:creationId xmlns:a16="http://schemas.microsoft.com/office/drawing/2014/main" id="{EB687770-3D76-4405-824C-FC013F1A7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786338" y="-13498513"/>
                <a:ext cx="4005262" cy="4446588"/>
              </a:xfrm>
              <a:custGeom>
                <a:avLst/>
                <a:gdLst>
                  <a:gd name="T0" fmla="*/ 35 w 91"/>
                  <a:gd name="T1" fmla="*/ 101 h 101"/>
                  <a:gd name="T2" fmla="*/ 0 w 91"/>
                  <a:gd name="T3" fmla="*/ 52 h 101"/>
                  <a:gd name="T4" fmla="*/ 52 w 91"/>
                  <a:gd name="T5" fmla="*/ 0 h 101"/>
                  <a:gd name="T6" fmla="*/ 91 w 91"/>
                  <a:gd name="T7" fmla="*/ 17 h 101"/>
                  <a:gd name="T8" fmla="*/ 85 w 91"/>
                  <a:gd name="T9" fmla="*/ 23 h 101"/>
                  <a:gd name="T10" fmla="*/ 52 w 91"/>
                  <a:gd name="T11" fmla="*/ 8 h 101"/>
                  <a:gd name="T12" fmla="*/ 8 w 91"/>
                  <a:gd name="T13" fmla="*/ 52 h 101"/>
                  <a:gd name="T14" fmla="*/ 38 w 91"/>
                  <a:gd name="T15" fmla="*/ 94 h 101"/>
                  <a:gd name="T16" fmla="*/ 35 w 91"/>
                  <a:gd name="T1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101">
                    <a:moveTo>
                      <a:pt x="35" y="101"/>
                    </a:moveTo>
                    <a:cubicBezTo>
                      <a:pt x="14" y="94"/>
                      <a:pt x="0" y="74"/>
                      <a:pt x="0" y="52"/>
                    </a:cubicBezTo>
                    <a:cubicBezTo>
                      <a:pt x="0" y="23"/>
                      <a:pt x="23" y="0"/>
                      <a:pt x="52" y="0"/>
                    </a:cubicBezTo>
                    <a:cubicBezTo>
                      <a:pt x="67" y="0"/>
                      <a:pt x="81" y="6"/>
                      <a:pt x="91" y="17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76" y="13"/>
                      <a:pt x="64" y="8"/>
                      <a:pt x="52" y="8"/>
                    </a:cubicBezTo>
                    <a:cubicBezTo>
                      <a:pt x="28" y="8"/>
                      <a:pt x="8" y="28"/>
                      <a:pt x="8" y="52"/>
                    </a:cubicBezTo>
                    <a:cubicBezTo>
                      <a:pt x="8" y="71"/>
                      <a:pt x="20" y="87"/>
                      <a:pt x="38" y="94"/>
                    </a:cubicBezTo>
                    <a:lnTo>
                      <a:pt x="35" y="10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70" name="Freeform 668">
                <a:extLst>
                  <a:ext uri="{FF2B5EF4-FFF2-40B4-BE49-F238E27FC236}">
                    <a16:creationId xmlns:a16="http://schemas.microsoft.com/office/drawing/2014/main" id="{A506BC2D-8426-4A66-B965-DA94B3CB9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081488" y="-12793663"/>
                <a:ext cx="1584325" cy="1584325"/>
              </a:xfrm>
              <a:custGeom>
                <a:avLst/>
                <a:gdLst>
                  <a:gd name="T0" fmla="*/ 8 w 36"/>
                  <a:gd name="T1" fmla="*/ 36 h 36"/>
                  <a:gd name="T2" fmla="*/ 0 w 36"/>
                  <a:gd name="T3" fmla="*/ 36 h 36"/>
                  <a:gd name="T4" fmla="*/ 36 w 36"/>
                  <a:gd name="T5" fmla="*/ 0 h 36"/>
                  <a:gd name="T6" fmla="*/ 36 w 36"/>
                  <a:gd name="T7" fmla="*/ 8 h 36"/>
                  <a:gd name="T8" fmla="*/ 8 w 3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6">
                    <a:moveTo>
                      <a:pt x="8" y="3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21" y="8"/>
                      <a:pt x="8" y="21"/>
                      <a:pt x="8" y="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71" name="Freeform 669">
                <a:extLst>
                  <a:ext uri="{FF2B5EF4-FFF2-40B4-BE49-F238E27FC236}">
                    <a16:creationId xmlns:a16="http://schemas.microsoft.com/office/drawing/2014/main" id="{BD1AB0B1-3E16-4B53-B94E-9BA416757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044601" y="-14732000"/>
                <a:ext cx="4532312" cy="4932363"/>
              </a:xfrm>
              <a:custGeom>
                <a:avLst/>
                <a:gdLst>
                  <a:gd name="T0" fmla="*/ 47 w 103"/>
                  <a:gd name="T1" fmla="*/ 112 h 112"/>
                  <a:gd name="T2" fmla="*/ 7 w 103"/>
                  <a:gd name="T3" fmla="*/ 95 h 112"/>
                  <a:gd name="T4" fmla="*/ 13 w 103"/>
                  <a:gd name="T5" fmla="*/ 90 h 112"/>
                  <a:gd name="T6" fmla="*/ 47 w 103"/>
                  <a:gd name="T7" fmla="*/ 104 h 112"/>
                  <a:gd name="T8" fmla="*/ 95 w 103"/>
                  <a:gd name="T9" fmla="*/ 56 h 112"/>
                  <a:gd name="T10" fmla="*/ 47 w 103"/>
                  <a:gd name="T11" fmla="*/ 8 h 112"/>
                  <a:gd name="T12" fmla="*/ 7 w 103"/>
                  <a:gd name="T13" fmla="*/ 30 h 112"/>
                  <a:gd name="T14" fmla="*/ 0 w 103"/>
                  <a:gd name="T15" fmla="*/ 26 h 112"/>
                  <a:gd name="T16" fmla="*/ 47 w 103"/>
                  <a:gd name="T17" fmla="*/ 0 h 112"/>
                  <a:gd name="T18" fmla="*/ 103 w 103"/>
                  <a:gd name="T19" fmla="*/ 56 h 112"/>
                  <a:gd name="T20" fmla="*/ 47 w 103"/>
                  <a:gd name="T21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3" h="112">
                    <a:moveTo>
                      <a:pt x="47" y="112"/>
                    </a:moveTo>
                    <a:cubicBezTo>
                      <a:pt x="32" y="112"/>
                      <a:pt x="18" y="106"/>
                      <a:pt x="7" y="95"/>
                    </a:cubicBezTo>
                    <a:cubicBezTo>
                      <a:pt x="13" y="90"/>
                      <a:pt x="13" y="90"/>
                      <a:pt x="13" y="90"/>
                    </a:cubicBezTo>
                    <a:cubicBezTo>
                      <a:pt x="22" y="99"/>
                      <a:pt x="34" y="104"/>
                      <a:pt x="47" y="104"/>
                    </a:cubicBezTo>
                    <a:cubicBezTo>
                      <a:pt x="73" y="104"/>
                      <a:pt x="95" y="82"/>
                      <a:pt x="95" y="56"/>
                    </a:cubicBezTo>
                    <a:cubicBezTo>
                      <a:pt x="95" y="30"/>
                      <a:pt x="73" y="8"/>
                      <a:pt x="47" y="8"/>
                    </a:cubicBezTo>
                    <a:cubicBezTo>
                      <a:pt x="31" y="8"/>
                      <a:pt x="15" y="16"/>
                      <a:pt x="7" y="3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0" y="10"/>
                      <a:pt x="28" y="0"/>
                      <a:pt x="47" y="0"/>
                    </a:cubicBezTo>
                    <a:cubicBezTo>
                      <a:pt x="78" y="0"/>
                      <a:pt x="103" y="25"/>
                      <a:pt x="103" y="56"/>
                    </a:cubicBezTo>
                    <a:cubicBezTo>
                      <a:pt x="103" y="87"/>
                      <a:pt x="78" y="112"/>
                      <a:pt x="47" y="1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uppieren 11">
              <a:extLst>
                <a:ext uri="{FF2B5EF4-FFF2-40B4-BE49-F238E27FC236}">
                  <a16:creationId xmlns:a16="http://schemas.microsoft.com/office/drawing/2014/main" id="{84B16454-EE5E-442B-97E8-3F05AA872CA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77316" y="1025194"/>
              <a:ext cx="311871" cy="383999"/>
              <a:chOff x="13119947" y="2414924"/>
              <a:chExt cx="799938" cy="984959"/>
            </a:xfrm>
            <a:solidFill>
              <a:schemeClr val="accent5"/>
            </a:solidFill>
          </p:grpSpPr>
          <p:grpSp>
            <p:nvGrpSpPr>
              <p:cNvPr id="73" name="Gruppieren 149">
                <a:extLst>
                  <a:ext uri="{FF2B5EF4-FFF2-40B4-BE49-F238E27FC236}">
                    <a16:creationId xmlns:a16="http://schemas.microsoft.com/office/drawing/2014/main" id="{7199F710-86A3-44DE-8523-873E26B718C6}"/>
                  </a:ext>
                </a:extLst>
              </p:cNvPr>
              <p:cNvGrpSpPr/>
              <p:nvPr/>
            </p:nvGrpSpPr>
            <p:grpSpPr>
              <a:xfrm>
                <a:off x="13119947" y="2414924"/>
                <a:ext cx="799938" cy="984959"/>
                <a:chOff x="-17592675" y="8780462"/>
                <a:chExt cx="6472237" cy="7969251"/>
              </a:xfrm>
              <a:grpFill/>
            </p:grpSpPr>
            <p:sp>
              <p:nvSpPr>
                <p:cNvPr id="78" name="Freeform 10">
                  <a:extLst>
                    <a:ext uri="{FF2B5EF4-FFF2-40B4-BE49-F238E27FC236}">
                      <a16:creationId xmlns:a16="http://schemas.microsoft.com/office/drawing/2014/main" id="{EA9BE71A-33E1-4BE6-8E82-DEE909F9BF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5975013" y="8780462"/>
                  <a:ext cx="3236912" cy="498475"/>
                </a:xfrm>
                <a:custGeom>
                  <a:avLst/>
                  <a:gdLst>
                    <a:gd name="T0" fmla="*/ 104 w 104"/>
                    <a:gd name="T1" fmla="*/ 16 h 16"/>
                    <a:gd name="T2" fmla="*/ 96 w 104"/>
                    <a:gd name="T3" fmla="*/ 16 h 16"/>
                    <a:gd name="T4" fmla="*/ 96 w 104"/>
                    <a:gd name="T5" fmla="*/ 8 h 16"/>
                    <a:gd name="T6" fmla="*/ 8 w 104"/>
                    <a:gd name="T7" fmla="*/ 8 h 16"/>
                    <a:gd name="T8" fmla="*/ 8 w 104"/>
                    <a:gd name="T9" fmla="*/ 16 h 16"/>
                    <a:gd name="T10" fmla="*/ 0 w 104"/>
                    <a:gd name="T11" fmla="*/ 16 h 16"/>
                    <a:gd name="T12" fmla="*/ 0 w 104"/>
                    <a:gd name="T13" fmla="*/ 4 h 16"/>
                    <a:gd name="T14" fmla="*/ 4 w 104"/>
                    <a:gd name="T15" fmla="*/ 0 h 16"/>
                    <a:gd name="T16" fmla="*/ 100 w 104"/>
                    <a:gd name="T17" fmla="*/ 0 h 16"/>
                    <a:gd name="T18" fmla="*/ 104 w 104"/>
                    <a:gd name="T19" fmla="*/ 4 h 16"/>
                    <a:gd name="T20" fmla="*/ 104 w 104"/>
                    <a:gd name="T2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4" h="16">
                      <a:moveTo>
                        <a:pt x="104" y="16"/>
                      </a:moveTo>
                      <a:cubicBezTo>
                        <a:pt x="96" y="16"/>
                        <a:pt x="96" y="16"/>
                        <a:pt x="96" y="16"/>
                      </a:cubicBezTo>
                      <a:cubicBezTo>
                        <a:pt x="96" y="8"/>
                        <a:pt x="96" y="8"/>
                        <a:pt x="96" y="8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100" y="0"/>
                        <a:pt x="100" y="0"/>
                        <a:pt x="100" y="0"/>
                      </a:cubicBezTo>
                      <a:cubicBezTo>
                        <a:pt x="102" y="0"/>
                        <a:pt x="104" y="2"/>
                        <a:pt x="104" y="4"/>
                      </a:cubicBezTo>
                      <a:lnTo>
                        <a:pt x="104" y="1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11">
                  <a:extLst>
                    <a:ext uri="{FF2B5EF4-FFF2-40B4-BE49-F238E27FC236}">
                      <a16:creationId xmlns:a16="http://schemas.microsoft.com/office/drawing/2014/main" id="{E101EC5A-1087-4FDF-96E6-97A29A751C2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6970375" y="10274300"/>
                  <a:ext cx="5227637" cy="6475413"/>
                </a:xfrm>
                <a:custGeom>
                  <a:avLst/>
                  <a:gdLst>
                    <a:gd name="T0" fmla="*/ 144 w 168"/>
                    <a:gd name="T1" fmla="*/ 208 h 208"/>
                    <a:gd name="T2" fmla="*/ 24 w 168"/>
                    <a:gd name="T3" fmla="*/ 208 h 208"/>
                    <a:gd name="T4" fmla="*/ 0 w 168"/>
                    <a:gd name="T5" fmla="*/ 184 h 208"/>
                    <a:gd name="T6" fmla="*/ 0 w 168"/>
                    <a:gd name="T7" fmla="*/ 0 h 208"/>
                    <a:gd name="T8" fmla="*/ 168 w 168"/>
                    <a:gd name="T9" fmla="*/ 0 h 208"/>
                    <a:gd name="T10" fmla="*/ 168 w 168"/>
                    <a:gd name="T11" fmla="*/ 184 h 208"/>
                    <a:gd name="T12" fmla="*/ 144 w 168"/>
                    <a:gd name="T13" fmla="*/ 208 h 208"/>
                    <a:gd name="T14" fmla="*/ 8 w 168"/>
                    <a:gd name="T15" fmla="*/ 8 h 208"/>
                    <a:gd name="T16" fmla="*/ 8 w 168"/>
                    <a:gd name="T17" fmla="*/ 184 h 208"/>
                    <a:gd name="T18" fmla="*/ 24 w 168"/>
                    <a:gd name="T19" fmla="*/ 200 h 208"/>
                    <a:gd name="T20" fmla="*/ 144 w 168"/>
                    <a:gd name="T21" fmla="*/ 200 h 208"/>
                    <a:gd name="T22" fmla="*/ 160 w 168"/>
                    <a:gd name="T23" fmla="*/ 184 h 208"/>
                    <a:gd name="T24" fmla="*/ 160 w 168"/>
                    <a:gd name="T25" fmla="*/ 8 h 208"/>
                    <a:gd name="T26" fmla="*/ 8 w 168"/>
                    <a:gd name="T27" fmla="*/ 8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208">
                      <a:moveTo>
                        <a:pt x="144" y="208"/>
                      </a:moveTo>
                      <a:cubicBezTo>
                        <a:pt x="24" y="208"/>
                        <a:pt x="24" y="208"/>
                        <a:pt x="24" y="208"/>
                      </a:cubicBezTo>
                      <a:cubicBezTo>
                        <a:pt x="11" y="208"/>
                        <a:pt x="0" y="197"/>
                        <a:pt x="0" y="18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68" y="184"/>
                        <a:pt x="168" y="184"/>
                        <a:pt x="168" y="184"/>
                      </a:cubicBezTo>
                      <a:cubicBezTo>
                        <a:pt x="168" y="197"/>
                        <a:pt x="157" y="208"/>
                        <a:pt x="144" y="208"/>
                      </a:cubicBezTo>
                      <a:close/>
                      <a:moveTo>
                        <a:pt x="8" y="8"/>
                      </a:moveTo>
                      <a:cubicBezTo>
                        <a:pt x="8" y="184"/>
                        <a:pt x="8" y="184"/>
                        <a:pt x="8" y="184"/>
                      </a:cubicBezTo>
                      <a:cubicBezTo>
                        <a:pt x="8" y="193"/>
                        <a:pt x="15" y="200"/>
                        <a:pt x="24" y="200"/>
                      </a:cubicBezTo>
                      <a:cubicBezTo>
                        <a:pt x="144" y="200"/>
                        <a:pt x="144" y="200"/>
                        <a:pt x="144" y="200"/>
                      </a:cubicBezTo>
                      <a:cubicBezTo>
                        <a:pt x="153" y="200"/>
                        <a:pt x="160" y="193"/>
                        <a:pt x="160" y="184"/>
                      </a:cubicBezTo>
                      <a:cubicBezTo>
                        <a:pt x="160" y="8"/>
                        <a:pt x="160" y="8"/>
                        <a:pt x="160" y="8"/>
                      </a:cubicBez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12">
                  <a:extLst>
                    <a:ext uri="{FF2B5EF4-FFF2-40B4-BE49-F238E27FC236}">
                      <a16:creationId xmlns:a16="http://schemas.microsoft.com/office/drawing/2014/main" id="{09844A7F-B16B-4AA1-A685-F04066C148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7592675" y="9526587"/>
                  <a:ext cx="6472237" cy="996950"/>
                </a:xfrm>
                <a:custGeom>
                  <a:avLst/>
                  <a:gdLst>
                    <a:gd name="T0" fmla="*/ 4077 w 4077"/>
                    <a:gd name="T1" fmla="*/ 628 h 628"/>
                    <a:gd name="T2" fmla="*/ 3763 w 4077"/>
                    <a:gd name="T3" fmla="*/ 628 h 628"/>
                    <a:gd name="T4" fmla="*/ 3763 w 4077"/>
                    <a:gd name="T5" fmla="*/ 471 h 628"/>
                    <a:gd name="T6" fmla="*/ 3920 w 4077"/>
                    <a:gd name="T7" fmla="*/ 471 h 628"/>
                    <a:gd name="T8" fmla="*/ 3920 w 4077"/>
                    <a:gd name="T9" fmla="*/ 157 h 628"/>
                    <a:gd name="T10" fmla="*/ 157 w 4077"/>
                    <a:gd name="T11" fmla="*/ 157 h 628"/>
                    <a:gd name="T12" fmla="*/ 157 w 4077"/>
                    <a:gd name="T13" fmla="*/ 471 h 628"/>
                    <a:gd name="T14" fmla="*/ 314 w 4077"/>
                    <a:gd name="T15" fmla="*/ 471 h 628"/>
                    <a:gd name="T16" fmla="*/ 314 w 4077"/>
                    <a:gd name="T17" fmla="*/ 628 h 628"/>
                    <a:gd name="T18" fmla="*/ 0 w 4077"/>
                    <a:gd name="T19" fmla="*/ 628 h 628"/>
                    <a:gd name="T20" fmla="*/ 0 w 4077"/>
                    <a:gd name="T21" fmla="*/ 0 h 628"/>
                    <a:gd name="T22" fmla="*/ 4077 w 4077"/>
                    <a:gd name="T23" fmla="*/ 0 h 628"/>
                    <a:gd name="T24" fmla="*/ 4077 w 4077"/>
                    <a:gd name="T25" fmla="*/ 628 h 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077" h="628">
                      <a:moveTo>
                        <a:pt x="4077" y="628"/>
                      </a:moveTo>
                      <a:lnTo>
                        <a:pt x="3763" y="628"/>
                      </a:lnTo>
                      <a:lnTo>
                        <a:pt x="3763" y="471"/>
                      </a:lnTo>
                      <a:lnTo>
                        <a:pt x="3920" y="471"/>
                      </a:lnTo>
                      <a:lnTo>
                        <a:pt x="3920" y="157"/>
                      </a:lnTo>
                      <a:lnTo>
                        <a:pt x="157" y="157"/>
                      </a:lnTo>
                      <a:lnTo>
                        <a:pt x="157" y="471"/>
                      </a:lnTo>
                      <a:lnTo>
                        <a:pt x="314" y="471"/>
                      </a:lnTo>
                      <a:lnTo>
                        <a:pt x="314" y="628"/>
                      </a:lnTo>
                      <a:lnTo>
                        <a:pt x="0" y="628"/>
                      </a:lnTo>
                      <a:lnTo>
                        <a:pt x="0" y="0"/>
                      </a:lnTo>
                      <a:lnTo>
                        <a:pt x="4077" y="0"/>
                      </a:lnTo>
                      <a:lnTo>
                        <a:pt x="4077" y="62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4" name="Gruppieren 10">
                <a:extLst>
                  <a:ext uri="{FF2B5EF4-FFF2-40B4-BE49-F238E27FC236}">
                    <a16:creationId xmlns:a16="http://schemas.microsoft.com/office/drawing/2014/main" id="{C75ECD84-E9A4-49D7-ACFA-D529FD29145F}"/>
                  </a:ext>
                </a:extLst>
              </p:cNvPr>
              <p:cNvGrpSpPr/>
              <p:nvPr/>
            </p:nvGrpSpPr>
            <p:grpSpPr>
              <a:xfrm>
                <a:off x="13333653" y="2800693"/>
                <a:ext cx="372516" cy="387821"/>
                <a:chOff x="13632312" y="6655193"/>
                <a:chExt cx="372516" cy="387821"/>
              </a:xfrm>
              <a:grpFill/>
            </p:grpSpPr>
            <p:sp>
              <p:nvSpPr>
                <p:cNvPr id="75" name="Freeform 7">
                  <a:extLst>
                    <a:ext uri="{FF2B5EF4-FFF2-40B4-BE49-F238E27FC236}">
                      <a16:creationId xmlns:a16="http://schemas.microsoft.com/office/drawing/2014/main" id="{063E1580-D4FB-417B-B6BC-E33F5BA65E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8905" y="6655193"/>
                  <a:ext cx="236209" cy="145200"/>
                </a:xfrm>
                <a:custGeom>
                  <a:avLst/>
                  <a:gdLst>
                    <a:gd name="T0" fmla="*/ 689 w 3084"/>
                    <a:gd name="T1" fmla="*/ 574 h 1899"/>
                    <a:gd name="T2" fmla="*/ 1209 w 3084"/>
                    <a:gd name="T3" fmla="*/ 273 h 1899"/>
                    <a:gd name="T4" fmla="*/ 1656 w 3084"/>
                    <a:gd name="T5" fmla="*/ 551 h 1899"/>
                    <a:gd name="T6" fmla="*/ 2260 w 3084"/>
                    <a:gd name="T7" fmla="*/ 1621 h 1899"/>
                    <a:gd name="T8" fmla="*/ 1512 w 3084"/>
                    <a:gd name="T9" fmla="*/ 1643 h 1899"/>
                    <a:gd name="T10" fmla="*/ 1387 w 3084"/>
                    <a:gd name="T11" fmla="*/ 1774 h 1899"/>
                    <a:gd name="T12" fmla="*/ 1515 w 3084"/>
                    <a:gd name="T13" fmla="*/ 1899 h 1899"/>
                    <a:gd name="T14" fmla="*/ 1519 w 3084"/>
                    <a:gd name="T15" fmla="*/ 1899 h 1899"/>
                    <a:gd name="T16" fmla="*/ 2485 w 3084"/>
                    <a:gd name="T17" fmla="*/ 1871 h 1899"/>
                    <a:gd name="T18" fmla="*/ 2593 w 3084"/>
                    <a:gd name="T19" fmla="*/ 1807 h 1899"/>
                    <a:gd name="T20" fmla="*/ 3049 w 3084"/>
                    <a:gd name="T21" fmla="*/ 1014 h 1899"/>
                    <a:gd name="T22" fmla="*/ 3002 w 3084"/>
                    <a:gd name="T23" fmla="*/ 839 h 1899"/>
                    <a:gd name="T24" fmla="*/ 2827 w 3084"/>
                    <a:gd name="T25" fmla="*/ 886 h 1899"/>
                    <a:gd name="T26" fmla="*/ 2480 w 3084"/>
                    <a:gd name="T27" fmla="*/ 1490 h 1899"/>
                    <a:gd name="T28" fmla="*/ 1879 w 3084"/>
                    <a:gd name="T29" fmla="*/ 425 h 1899"/>
                    <a:gd name="T30" fmla="*/ 1223 w 3084"/>
                    <a:gd name="T31" fmla="*/ 17 h 1899"/>
                    <a:gd name="T32" fmla="*/ 461 w 3084"/>
                    <a:gd name="T33" fmla="*/ 459 h 1899"/>
                    <a:gd name="T34" fmla="*/ 0 w 3084"/>
                    <a:gd name="T35" fmla="*/ 1374 h 1899"/>
                    <a:gd name="T36" fmla="*/ 229 w 3084"/>
                    <a:gd name="T37" fmla="*/ 1489 h 1899"/>
                    <a:gd name="T38" fmla="*/ 689 w 3084"/>
                    <a:gd name="T39" fmla="*/ 574 h 18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084" h="1899">
                      <a:moveTo>
                        <a:pt x="689" y="574"/>
                      </a:moveTo>
                      <a:cubicBezTo>
                        <a:pt x="787" y="379"/>
                        <a:pt x="991" y="261"/>
                        <a:pt x="1209" y="273"/>
                      </a:cubicBezTo>
                      <a:cubicBezTo>
                        <a:pt x="1396" y="283"/>
                        <a:pt x="1563" y="387"/>
                        <a:pt x="1656" y="551"/>
                      </a:cubicBezTo>
                      <a:cubicBezTo>
                        <a:pt x="2260" y="1621"/>
                        <a:pt x="2260" y="1621"/>
                        <a:pt x="2260" y="1621"/>
                      </a:cubicBezTo>
                      <a:cubicBezTo>
                        <a:pt x="1512" y="1643"/>
                        <a:pt x="1512" y="1643"/>
                        <a:pt x="1512" y="1643"/>
                      </a:cubicBezTo>
                      <a:cubicBezTo>
                        <a:pt x="1441" y="1645"/>
                        <a:pt x="1385" y="1703"/>
                        <a:pt x="1387" y="1774"/>
                      </a:cubicBezTo>
                      <a:cubicBezTo>
                        <a:pt x="1389" y="1844"/>
                        <a:pt x="1446" y="1899"/>
                        <a:pt x="1515" y="1899"/>
                      </a:cubicBezTo>
                      <a:cubicBezTo>
                        <a:pt x="1517" y="1899"/>
                        <a:pt x="1518" y="1899"/>
                        <a:pt x="1519" y="1899"/>
                      </a:cubicBezTo>
                      <a:cubicBezTo>
                        <a:pt x="2485" y="1871"/>
                        <a:pt x="2485" y="1871"/>
                        <a:pt x="2485" y="1871"/>
                      </a:cubicBezTo>
                      <a:cubicBezTo>
                        <a:pt x="2530" y="1870"/>
                        <a:pt x="2571" y="1846"/>
                        <a:pt x="2593" y="1807"/>
                      </a:cubicBezTo>
                      <a:cubicBezTo>
                        <a:pt x="3049" y="1014"/>
                        <a:pt x="3049" y="1014"/>
                        <a:pt x="3049" y="1014"/>
                      </a:cubicBezTo>
                      <a:cubicBezTo>
                        <a:pt x="3084" y="952"/>
                        <a:pt x="3063" y="874"/>
                        <a:pt x="3002" y="839"/>
                      </a:cubicBezTo>
                      <a:cubicBezTo>
                        <a:pt x="2941" y="804"/>
                        <a:pt x="2862" y="825"/>
                        <a:pt x="2827" y="886"/>
                      </a:cubicBezTo>
                      <a:cubicBezTo>
                        <a:pt x="2480" y="1490"/>
                        <a:pt x="2480" y="1490"/>
                        <a:pt x="2480" y="1490"/>
                      </a:cubicBezTo>
                      <a:cubicBezTo>
                        <a:pt x="1879" y="425"/>
                        <a:pt x="1879" y="425"/>
                        <a:pt x="1879" y="425"/>
                      </a:cubicBezTo>
                      <a:cubicBezTo>
                        <a:pt x="1743" y="185"/>
                        <a:pt x="1498" y="33"/>
                        <a:pt x="1223" y="17"/>
                      </a:cubicBezTo>
                      <a:cubicBezTo>
                        <a:pt x="902" y="0"/>
                        <a:pt x="604" y="173"/>
                        <a:pt x="461" y="459"/>
                      </a:cubicBezTo>
                      <a:cubicBezTo>
                        <a:pt x="0" y="1374"/>
                        <a:pt x="0" y="1374"/>
                        <a:pt x="0" y="1374"/>
                      </a:cubicBezTo>
                      <a:cubicBezTo>
                        <a:pt x="229" y="1489"/>
                        <a:pt x="229" y="1489"/>
                        <a:pt x="229" y="1489"/>
                      </a:cubicBezTo>
                      <a:lnTo>
                        <a:pt x="689" y="5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8">
                  <a:extLst>
                    <a:ext uri="{FF2B5EF4-FFF2-40B4-BE49-F238E27FC236}">
                      <a16:creationId xmlns:a16="http://schemas.microsoft.com/office/drawing/2014/main" id="{0E4E3367-AFD6-4D9C-AF66-259709A417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8053" y="6819629"/>
                  <a:ext cx="186775" cy="223385"/>
                </a:xfrm>
                <a:custGeom>
                  <a:avLst/>
                  <a:gdLst>
                    <a:gd name="T0" fmla="*/ 1477 w 2440"/>
                    <a:gd name="T1" fmla="*/ 142 h 2923"/>
                    <a:gd name="T2" fmla="*/ 2046 w 2440"/>
                    <a:gd name="T3" fmla="*/ 994 h 2923"/>
                    <a:gd name="T4" fmla="*/ 2052 w 2440"/>
                    <a:gd name="T5" fmla="*/ 1594 h 2923"/>
                    <a:gd name="T6" fmla="*/ 1591 w 2440"/>
                    <a:gd name="T7" fmla="*/ 1846 h 2923"/>
                    <a:gd name="T8" fmla="*/ 1590 w 2440"/>
                    <a:gd name="T9" fmla="*/ 1846 h 2923"/>
                    <a:gd name="T10" fmla="*/ 366 w 2440"/>
                    <a:gd name="T11" fmla="*/ 1845 h 2923"/>
                    <a:gd name="T12" fmla="*/ 700 w 2440"/>
                    <a:gd name="T13" fmla="*/ 1213 h 2923"/>
                    <a:gd name="T14" fmla="*/ 647 w 2440"/>
                    <a:gd name="T15" fmla="*/ 1040 h 2923"/>
                    <a:gd name="T16" fmla="*/ 474 w 2440"/>
                    <a:gd name="T17" fmla="*/ 1093 h 2923"/>
                    <a:gd name="T18" fmla="*/ 21 w 2440"/>
                    <a:gd name="T19" fmla="*/ 1947 h 2923"/>
                    <a:gd name="T20" fmla="*/ 24 w 2440"/>
                    <a:gd name="T21" fmla="*/ 2072 h 2923"/>
                    <a:gd name="T22" fmla="*/ 490 w 2440"/>
                    <a:gd name="T23" fmla="*/ 2860 h 2923"/>
                    <a:gd name="T24" fmla="*/ 600 w 2440"/>
                    <a:gd name="T25" fmla="*/ 2923 h 2923"/>
                    <a:gd name="T26" fmla="*/ 665 w 2440"/>
                    <a:gd name="T27" fmla="*/ 2906 h 2923"/>
                    <a:gd name="T28" fmla="*/ 710 w 2440"/>
                    <a:gd name="T29" fmla="*/ 2730 h 2923"/>
                    <a:gd name="T30" fmla="*/ 338 w 2440"/>
                    <a:gd name="T31" fmla="*/ 2101 h 2923"/>
                    <a:gd name="T32" fmla="*/ 1590 w 2440"/>
                    <a:gd name="T33" fmla="*/ 2102 h 2923"/>
                    <a:gd name="T34" fmla="*/ 1591 w 2440"/>
                    <a:gd name="T35" fmla="*/ 2102 h 2923"/>
                    <a:gd name="T36" fmla="*/ 2268 w 2440"/>
                    <a:gd name="T37" fmla="*/ 1732 h 2923"/>
                    <a:gd name="T38" fmla="*/ 2259 w 2440"/>
                    <a:gd name="T39" fmla="*/ 852 h 2923"/>
                    <a:gd name="T40" fmla="*/ 1690 w 2440"/>
                    <a:gd name="T41" fmla="*/ 0 h 2923"/>
                    <a:gd name="T42" fmla="*/ 1477 w 2440"/>
                    <a:gd name="T43" fmla="*/ 142 h 29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440" h="2923">
                      <a:moveTo>
                        <a:pt x="1477" y="142"/>
                      </a:moveTo>
                      <a:cubicBezTo>
                        <a:pt x="2046" y="994"/>
                        <a:pt x="2046" y="994"/>
                        <a:pt x="2046" y="994"/>
                      </a:cubicBezTo>
                      <a:cubicBezTo>
                        <a:pt x="2167" y="1175"/>
                        <a:pt x="2170" y="1411"/>
                        <a:pt x="2052" y="1594"/>
                      </a:cubicBezTo>
                      <a:cubicBezTo>
                        <a:pt x="1951" y="1752"/>
                        <a:pt x="1778" y="1846"/>
                        <a:pt x="1591" y="1846"/>
                      </a:cubicBezTo>
                      <a:cubicBezTo>
                        <a:pt x="1591" y="1846"/>
                        <a:pt x="1590" y="1846"/>
                        <a:pt x="1590" y="1846"/>
                      </a:cubicBezTo>
                      <a:cubicBezTo>
                        <a:pt x="366" y="1845"/>
                        <a:pt x="366" y="1845"/>
                        <a:pt x="366" y="1845"/>
                      </a:cubicBezTo>
                      <a:cubicBezTo>
                        <a:pt x="700" y="1213"/>
                        <a:pt x="700" y="1213"/>
                        <a:pt x="700" y="1213"/>
                      </a:cubicBezTo>
                      <a:cubicBezTo>
                        <a:pt x="733" y="1150"/>
                        <a:pt x="709" y="1073"/>
                        <a:pt x="647" y="1040"/>
                      </a:cubicBezTo>
                      <a:cubicBezTo>
                        <a:pt x="584" y="1006"/>
                        <a:pt x="507" y="1031"/>
                        <a:pt x="474" y="1093"/>
                      </a:cubicBezTo>
                      <a:cubicBezTo>
                        <a:pt x="21" y="1947"/>
                        <a:pt x="21" y="1947"/>
                        <a:pt x="21" y="1947"/>
                      </a:cubicBezTo>
                      <a:cubicBezTo>
                        <a:pt x="0" y="1987"/>
                        <a:pt x="2" y="2034"/>
                        <a:pt x="24" y="2072"/>
                      </a:cubicBezTo>
                      <a:cubicBezTo>
                        <a:pt x="490" y="2860"/>
                        <a:pt x="490" y="2860"/>
                        <a:pt x="490" y="2860"/>
                      </a:cubicBezTo>
                      <a:cubicBezTo>
                        <a:pt x="514" y="2901"/>
                        <a:pt x="556" y="2923"/>
                        <a:pt x="600" y="2923"/>
                      </a:cubicBezTo>
                      <a:cubicBezTo>
                        <a:pt x="622" y="2923"/>
                        <a:pt x="645" y="2918"/>
                        <a:pt x="665" y="2906"/>
                      </a:cubicBezTo>
                      <a:cubicBezTo>
                        <a:pt x="726" y="2870"/>
                        <a:pt x="746" y="2791"/>
                        <a:pt x="710" y="2730"/>
                      </a:cubicBezTo>
                      <a:cubicBezTo>
                        <a:pt x="338" y="2101"/>
                        <a:pt x="338" y="2101"/>
                        <a:pt x="338" y="2101"/>
                      </a:cubicBezTo>
                      <a:cubicBezTo>
                        <a:pt x="1590" y="2102"/>
                        <a:pt x="1590" y="2102"/>
                        <a:pt x="1590" y="2102"/>
                      </a:cubicBezTo>
                      <a:cubicBezTo>
                        <a:pt x="1590" y="2102"/>
                        <a:pt x="1590" y="2102"/>
                        <a:pt x="1591" y="2102"/>
                      </a:cubicBezTo>
                      <a:cubicBezTo>
                        <a:pt x="1866" y="2102"/>
                        <a:pt x="2119" y="1964"/>
                        <a:pt x="2268" y="1732"/>
                      </a:cubicBezTo>
                      <a:cubicBezTo>
                        <a:pt x="2440" y="1463"/>
                        <a:pt x="2437" y="1117"/>
                        <a:pt x="2259" y="852"/>
                      </a:cubicBezTo>
                      <a:cubicBezTo>
                        <a:pt x="1690" y="0"/>
                        <a:pt x="1690" y="0"/>
                        <a:pt x="1690" y="0"/>
                      </a:cubicBezTo>
                      <a:lnTo>
                        <a:pt x="1477" y="14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9">
                  <a:extLst>
                    <a:ext uri="{FF2B5EF4-FFF2-40B4-BE49-F238E27FC236}">
                      <a16:creationId xmlns:a16="http://schemas.microsoft.com/office/drawing/2014/main" id="{EFB20772-DF2A-4E15-9F01-CA79BB108E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32312" y="6794395"/>
                  <a:ext cx="156163" cy="193807"/>
                </a:xfrm>
                <a:custGeom>
                  <a:avLst/>
                  <a:gdLst>
                    <a:gd name="T0" fmla="*/ 132 w 2041"/>
                    <a:gd name="T1" fmla="*/ 278 h 2534"/>
                    <a:gd name="T2" fmla="*/ 864 w 2041"/>
                    <a:gd name="T3" fmla="*/ 263 h 2534"/>
                    <a:gd name="T4" fmla="*/ 258 w 2041"/>
                    <a:gd name="T5" fmla="*/ 1335 h 2534"/>
                    <a:gd name="T6" fmla="*/ 248 w 2041"/>
                    <a:gd name="T7" fmla="*/ 2107 h 2534"/>
                    <a:gd name="T8" fmla="*/ 958 w 2041"/>
                    <a:gd name="T9" fmla="*/ 2534 h 2534"/>
                    <a:gd name="T10" fmla="*/ 1020 w 2041"/>
                    <a:gd name="T11" fmla="*/ 2532 h 2534"/>
                    <a:gd name="T12" fmla="*/ 2041 w 2041"/>
                    <a:gd name="T13" fmla="*/ 2453 h 2534"/>
                    <a:gd name="T14" fmla="*/ 2021 w 2041"/>
                    <a:gd name="T15" fmla="*/ 2198 h 2534"/>
                    <a:gd name="T16" fmla="*/ 1000 w 2041"/>
                    <a:gd name="T17" fmla="*/ 2276 h 2534"/>
                    <a:gd name="T18" fmla="*/ 474 w 2041"/>
                    <a:gd name="T19" fmla="*/ 1987 h 2534"/>
                    <a:gd name="T20" fmla="*/ 481 w 2041"/>
                    <a:gd name="T21" fmla="*/ 1461 h 2534"/>
                    <a:gd name="T22" fmla="*/ 1073 w 2041"/>
                    <a:gd name="T23" fmla="*/ 413 h 2534"/>
                    <a:gd name="T24" fmla="*/ 1459 w 2041"/>
                    <a:gd name="T25" fmla="*/ 1013 h 2534"/>
                    <a:gd name="T26" fmla="*/ 1567 w 2041"/>
                    <a:gd name="T27" fmla="*/ 1072 h 2534"/>
                    <a:gd name="T28" fmla="*/ 1636 w 2041"/>
                    <a:gd name="T29" fmla="*/ 1052 h 2534"/>
                    <a:gd name="T30" fmla="*/ 1675 w 2041"/>
                    <a:gd name="T31" fmla="*/ 875 h 2534"/>
                    <a:gd name="T32" fmla="*/ 1152 w 2041"/>
                    <a:gd name="T33" fmla="*/ 61 h 2534"/>
                    <a:gd name="T34" fmla="*/ 1042 w 2041"/>
                    <a:gd name="T35" fmla="*/ 3 h 2534"/>
                    <a:gd name="T36" fmla="*/ 126 w 2041"/>
                    <a:gd name="T37" fmla="*/ 22 h 2534"/>
                    <a:gd name="T38" fmla="*/ 1 w 2041"/>
                    <a:gd name="T39" fmla="*/ 152 h 2534"/>
                    <a:gd name="T40" fmla="*/ 132 w 2041"/>
                    <a:gd name="T41" fmla="*/ 278 h 2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041" h="2534">
                      <a:moveTo>
                        <a:pt x="132" y="278"/>
                      </a:moveTo>
                      <a:cubicBezTo>
                        <a:pt x="864" y="263"/>
                        <a:pt x="864" y="263"/>
                        <a:pt x="864" y="263"/>
                      </a:cubicBezTo>
                      <a:cubicBezTo>
                        <a:pt x="258" y="1335"/>
                        <a:pt x="258" y="1335"/>
                        <a:pt x="258" y="1335"/>
                      </a:cubicBezTo>
                      <a:cubicBezTo>
                        <a:pt x="123" y="1575"/>
                        <a:pt x="119" y="1864"/>
                        <a:pt x="248" y="2107"/>
                      </a:cubicBezTo>
                      <a:cubicBezTo>
                        <a:pt x="388" y="2371"/>
                        <a:pt x="662" y="2534"/>
                        <a:pt x="958" y="2534"/>
                      </a:cubicBezTo>
                      <a:cubicBezTo>
                        <a:pt x="978" y="2534"/>
                        <a:pt x="999" y="2533"/>
                        <a:pt x="1020" y="2532"/>
                      </a:cubicBezTo>
                      <a:cubicBezTo>
                        <a:pt x="2041" y="2453"/>
                        <a:pt x="2041" y="2453"/>
                        <a:pt x="2041" y="2453"/>
                      </a:cubicBezTo>
                      <a:cubicBezTo>
                        <a:pt x="2021" y="2198"/>
                        <a:pt x="2021" y="2198"/>
                        <a:pt x="2021" y="2198"/>
                      </a:cubicBezTo>
                      <a:cubicBezTo>
                        <a:pt x="1000" y="2276"/>
                        <a:pt x="1000" y="2276"/>
                        <a:pt x="1000" y="2276"/>
                      </a:cubicBezTo>
                      <a:cubicBezTo>
                        <a:pt x="783" y="2293"/>
                        <a:pt x="576" y="2179"/>
                        <a:pt x="474" y="1987"/>
                      </a:cubicBezTo>
                      <a:cubicBezTo>
                        <a:pt x="386" y="1821"/>
                        <a:pt x="389" y="1625"/>
                        <a:pt x="481" y="1461"/>
                      </a:cubicBezTo>
                      <a:cubicBezTo>
                        <a:pt x="1073" y="413"/>
                        <a:pt x="1073" y="413"/>
                        <a:pt x="1073" y="413"/>
                      </a:cubicBezTo>
                      <a:cubicBezTo>
                        <a:pt x="1459" y="1013"/>
                        <a:pt x="1459" y="1013"/>
                        <a:pt x="1459" y="1013"/>
                      </a:cubicBezTo>
                      <a:cubicBezTo>
                        <a:pt x="1483" y="1051"/>
                        <a:pt x="1525" y="1072"/>
                        <a:pt x="1567" y="1072"/>
                      </a:cubicBezTo>
                      <a:cubicBezTo>
                        <a:pt x="1591" y="1072"/>
                        <a:pt x="1615" y="1065"/>
                        <a:pt x="1636" y="1052"/>
                      </a:cubicBezTo>
                      <a:cubicBezTo>
                        <a:pt x="1695" y="1013"/>
                        <a:pt x="1713" y="934"/>
                        <a:pt x="1675" y="875"/>
                      </a:cubicBezTo>
                      <a:cubicBezTo>
                        <a:pt x="1152" y="61"/>
                        <a:pt x="1152" y="61"/>
                        <a:pt x="1152" y="61"/>
                      </a:cubicBezTo>
                      <a:cubicBezTo>
                        <a:pt x="1128" y="24"/>
                        <a:pt x="1084" y="0"/>
                        <a:pt x="1042" y="3"/>
                      </a:cubicBezTo>
                      <a:cubicBezTo>
                        <a:pt x="126" y="22"/>
                        <a:pt x="126" y="22"/>
                        <a:pt x="126" y="22"/>
                      </a:cubicBezTo>
                      <a:cubicBezTo>
                        <a:pt x="56" y="23"/>
                        <a:pt x="0" y="82"/>
                        <a:pt x="1" y="152"/>
                      </a:cubicBezTo>
                      <a:cubicBezTo>
                        <a:pt x="3" y="223"/>
                        <a:pt x="60" y="277"/>
                        <a:pt x="132" y="27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21917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2E63D6E-D0A2-4253-BC3C-1448CC643BE3}"/>
                </a:ext>
              </a:extLst>
            </p:cNvPr>
            <p:cNvSpPr txBox="1"/>
            <p:nvPr/>
          </p:nvSpPr>
          <p:spPr>
            <a:xfrm>
              <a:off x="431800" y="558752"/>
              <a:ext cx="8897837" cy="276977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1) Please mark which business model you are exploring and require funding for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40CCE3E-0D85-4C50-B83B-EE82C3FAF0BC}"/>
                </a:ext>
              </a:extLst>
            </p:cNvPr>
            <p:cNvSpPr txBox="1"/>
            <p:nvPr/>
          </p:nvSpPr>
          <p:spPr>
            <a:xfrm>
              <a:off x="674347" y="3010577"/>
              <a:ext cx="230406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ixed investments/ Equipmen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4DF14EB-635B-4865-8197-BE22C195C2F8}"/>
                </a:ext>
              </a:extLst>
            </p:cNvPr>
            <p:cNvSpPr txBox="1"/>
            <p:nvPr/>
          </p:nvSpPr>
          <p:spPr>
            <a:xfrm>
              <a:off x="674347" y="3278935"/>
              <a:ext cx="230406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Inventory and working capital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9FCF9EF-7D92-4C86-B11B-A2FBEFB66BA5}"/>
                </a:ext>
              </a:extLst>
            </p:cNvPr>
            <p:cNvSpPr txBox="1"/>
            <p:nvPr/>
          </p:nvSpPr>
          <p:spPr>
            <a:xfrm>
              <a:off x="431800" y="4453554"/>
              <a:ext cx="8897837" cy="276977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3) Which funding instrument would be appropriate for your cause?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C6B00BE-63CA-4E09-A7C4-B7C583A00882}"/>
                </a:ext>
              </a:extLst>
            </p:cNvPr>
            <p:cNvSpPr txBox="1"/>
            <p:nvPr/>
          </p:nvSpPr>
          <p:spPr>
            <a:xfrm>
              <a:off x="431800" y="5372844"/>
              <a:ext cx="8897837" cy="276977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4) Which funding partner would you approach?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C72B6D4-9548-4F95-B996-9ECAB71AB7EF}"/>
                </a:ext>
              </a:extLst>
            </p:cNvPr>
            <p:cNvSpPr txBox="1"/>
            <p:nvPr/>
          </p:nvSpPr>
          <p:spPr>
            <a:xfrm>
              <a:off x="3572883" y="3010577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No additional investmen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24437869-C579-48C9-8412-CE3D15704C1B}"/>
                </a:ext>
              </a:extLst>
            </p:cNvPr>
            <p:cNvSpPr txBox="1"/>
            <p:nvPr/>
          </p:nvSpPr>
          <p:spPr>
            <a:xfrm>
              <a:off x="3572883" y="3278935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&lt; €50.000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AA4C17A-E3D1-4081-B852-D606FAF34475}"/>
                </a:ext>
              </a:extLst>
            </p:cNvPr>
            <p:cNvSpPr txBox="1"/>
            <p:nvPr/>
          </p:nvSpPr>
          <p:spPr>
            <a:xfrm>
              <a:off x="3572883" y="3547292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€50.000 – 99.999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0B47223-2249-4DCC-B21C-AB121C8BAF34}"/>
                </a:ext>
              </a:extLst>
            </p:cNvPr>
            <p:cNvSpPr txBox="1"/>
            <p:nvPr/>
          </p:nvSpPr>
          <p:spPr>
            <a:xfrm>
              <a:off x="3572883" y="3815651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€100.000 – 249.999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FE9D36C-8478-4DE8-8510-6AF1414EF4AD}"/>
                </a:ext>
              </a:extLst>
            </p:cNvPr>
            <p:cNvSpPr txBox="1"/>
            <p:nvPr/>
          </p:nvSpPr>
          <p:spPr>
            <a:xfrm>
              <a:off x="3572883" y="4066117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€250.000 – 499.999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2491319F-32A0-4059-B37A-8DF085128F4A}"/>
                </a:ext>
              </a:extLst>
            </p:cNvPr>
            <p:cNvSpPr txBox="1"/>
            <p:nvPr/>
          </p:nvSpPr>
          <p:spPr>
            <a:xfrm>
              <a:off x="5717117" y="3010577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€500.000 – 999.999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33C713F3-7869-48AF-B0DA-0372BAACBE41}"/>
                </a:ext>
              </a:extLst>
            </p:cNvPr>
            <p:cNvSpPr txBox="1"/>
            <p:nvPr/>
          </p:nvSpPr>
          <p:spPr>
            <a:xfrm>
              <a:off x="5717117" y="3278935"/>
              <a:ext cx="192000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&gt;€1.000.000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6884B0F0-9E17-4E8F-9EBC-9F767A69FD58}"/>
                </a:ext>
              </a:extLst>
            </p:cNvPr>
            <p:cNvSpPr txBox="1"/>
            <p:nvPr/>
          </p:nvSpPr>
          <p:spPr>
            <a:xfrm>
              <a:off x="7699091" y="2529355"/>
              <a:ext cx="1648635" cy="365293"/>
            </a:xfrm>
            <a:prstGeom prst="roundRect">
              <a:avLst/>
            </a:prstGeom>
            <a:noFill/>
          </p:spPr>
          <p:txBody>
            <a:bodyPr wrap="square" lIns="48000" tIns="48000" rIns="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What share would need to be financed externally?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B38F2CDC-550B-426B-A773-37AC13939484}"/>
                </a:ext>
              </a:extLst>
            </p:cNvPr>
            <p:cNvSpPr txBox="1"/>
            <p:nvPr/>
          </p:nvSpPr>
          <p:spPr>
            <a:xfrm>
              <a:off x="3519420" y="2529355"/>
              <a:ext cx="3887219" cy="427501"/>
            </a:xfrm>
            <a:prstGeom prst="roundRect">
              <a:avLst/>
            </a:prstGeom>
            <a:noFill/>
          </p:spPr>
          <p:txBody>
            <a:bodyPr wrap="square" lIns="48000" tIns="48000" rIns="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What amount of money you need?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D564EB9-3EF0-4BA9-AA38-E5468DA7B77B}"/>
                </a:ext>
              </a:extLst>
            </p:cNvPr>
            <p:cNvSpPr txBox="1"/>
            <p:nvPr/>
          </p:nvSpPr>
          <p:spPr>
            <a:xfrm>
              <a:off x="664726" y="2529355"/>
              <a:ext cx="2463489" cy="417328"/>
            </a:xfrm>
            <a:prstGeom prst="roundRect">
              <a:avLst/>
            </a:prstGeom>
            <a:noFill/>
          </p:spPr>
          <p:txBody>
            <a:bodyPr wrap="square" lIns="48000" tIns="48000" rIns="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What type of investments will be required? 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BC474293-F31E-4B70-A3E5-2FBFAB5796D0}"/>
                </a:ext>
              </a:extLst>
            </p:cNvPr>
            <p:cNvSpPr txBox="1"/>
            <p:nvPr/>
          </p:nvSpPr>
          <p:spPr>
            <a:xfrm>
              <a:off x="7475261" y="2529861"/>
              <a:ext cx="240000" cy="384000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0" bIns="48000" rtlCol="0" anchor="ctr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4B38829-3A2B-4F2B-AE2A-60A4B4A4084A}"/>
                </a:ext>
              </a:extLst>
            </p:cNvPr>
            <p:cNvSpPr txBox="1"/>
            <p:nvPr/>
          </p:nvSpPr>
          <p:spPr>
            <a:xfrm>
              <a:off x="3292248" y="2529861"/>
              <a:ext cx="240000" cy="384000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0" bIns="48000" rtlCol="0" anchor="ctr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07BFA23-9632-4F8F-90A3-B3D5DEF52EE5}"/>
                </a:ext>
              </a:extLst>
            </p:cNvPr>
            <p:cNvSpPr txBox="1"/>
            <p:nvPr/>
          </p:nvSpPr>
          <p:spPr>
            <a:xfrm>
              <a:off x="440896" y="2529861"/>
              <a:ext cx="240000" cy="384000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0" bIns="48000" rtlCol="0" anchor="ctr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A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61A1958-19D9-4203-A1C0-A4E723906052}"/>
                </a:ext>
              </a:extLst>
            </p:cNvPr>
            <p:cNvCxnSpPr/>
            <p:nvPr/>
          </p:nvCxnSpPr>
          <p:spPr>
            <a:xfrm>
              <a:off x="3412248" y="2934181"/>
              <a:ext cx="0" cy="129600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821A2D77-B695-4359-850D-FA84C3EDF89C}"/>
                </a:ext>
              </a:extLst>
            </p:cNvPr>
            <p:cNvCxnSpPr/>
            <p:nvPr/>
          </p:nvCxnSpPr>
          <p:spPr>
            <a:xfrm>
              <a:off x="7601511" y="2934181"/>
              <a:ext cx="0" cy="1296000"/>
            </a:xfrm>
            <a:prstGeom prst="line">
              <a:avLst/>
            </a:prstGeom>
            <a:ln w="6350">
              <a:solidFill>
                <a:schemeClr val="tx2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F012196-77B4-40C8-8E83-3B1B981D57F6}"/>
                </a:ext>
              </a:extLst>
            </p:cNvPr>
            <p:cNvCxnSpPr/>
            <p:nvPr/>
          </p:nvCxnSpPr>
          <p:spPr>
            <a:xfrm>
              <a:off x="8082907" y="3545227"/>
              <a:ext cx="720000" cy="0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6153DE9-A761-4B8D-9BF5-1D1A09FA6B5A}"/>
                </a:ext>
              </a:extLst>
            </p:cNvPr>
            <p:cNvSpPr txBox="1"/>
            <p:nvPr/>
          </p:nvSpPr>
          <p:spPr>
            <a:xfrm>
              <a:off x="8798450" y="3315485"/>
              <a:ext cx="503231" cy="331596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F7D6A5EC-9733-4345-B5B3-7BAD882FED73}"/>
                </a:ext>
              </a:extLst>
            </p:cNvPr>
            <p:cNvSpPr txBox="1"/>
            <p:nvPr/>
          </p:nvSpPr>
          <p:spPr>
            <a:xfrm>
              <a:off x="674347" y="3547292"/>
              <a:ext cx="245826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Hiring and training of employees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29E54E7E-B65B-418F-932C-945C39BA64E4}"/>
                </a:ext>
              </a:extLst>
            </p:cNvPr>
            <p:cNvSpPr txBox="1"/>
            <p:nvPr/>
          </p:nvSpPr>
          <p:spPr>
            <a:xfrm>
              <a:off x="674347" y="3815651"/>
              <a:ext cx="245826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Research and developm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A357DF6E-F780-4529-A382-9C6F879AB0D4}"/>
                </a:ext>
              </a:extLst>
            </p:cNvPr>
            <p:cNvSpPr txBox="1"/>
            <p:nvPr/>
          </p:nvSpPr>
          <p:spPr>
            <a:xfrm>
              <a:off x="674347" y="4087989"/>
              <a:ext cx="2458260" cy="240000"/>
            </a:xfrm>
            <a:prstGeom prst="rect">
              <a:avLst/>
            </a:prstGeom>
            <a:noFill/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Other: </a:t>
              </a: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88E81CE2-33FA-499E-A9F6-5CFB86EAF6AB}"/>
                </a:ext>
              </a:extLst>
            </p:cNvPr>
            <p:cNvCxnSpPr/>
            <p:nvPr/>
          </p:nvCxnSpPr>
          <p:spPr>
            <a:xfrm>
              <a:off x="1203796" y="4306117"/>
              <a:ext cx="1776000" cy="0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CB5780B-DE17-4E5A-8B2A-B7B58C6C1B7B}"/>
                </a:ext>
              </a:extLst>
            </p:cNvPr>
            <p:cNvSpPr txBox="1"/>
            <p:nvPr/>
          </p:nvSpPr>
          <p:spPr>
            <a:xfrm>
              <a:off x="440896" y="2326996"/>
              <a:ext cx="8897837" cy="240480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lIns="48000" tIns="48000" rIns="48000" bIns="48000" rtlCol="0">
              <a:no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2) Based on the business case calculations you did, what are the funding requirements? </a:t>
              </a:r>
            </a:p>
          </p:txBody>
        </p:sp>
        <p:sp>
          <p:nvSpPr>
            <p:cNvPr id="115" name="Rectangle: Rounded Corners 131">
              <a:extLst>
                <a:ext uri="{FF2B5EF4-FFF2-40B4-BE49-F238E27FC236}">
                  <a16:creationId xmlns:a16="http://schemas.microsoft.com/office/drawing/2014/main" id="{6F42DACE-DD7C-4CA2-B0EA-0B37489E5151}"/>
                </a:ext>
              </a:extLst>
            </p:cNvPr>
            <p:cNvSpPr/>
            <p:nvPr/>
          </p:nvSpPr>
          <p:spPr>
            <a:xfrm>
              <a:off x="3776133" y="1244600"/>
              <a:ext cx="1656000" cy="24000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solidFill>
                <a:schemeClr val="accent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Upgrade</a:t>
              </a:r>
            </a:p>
          </p:txBody>
        </p:sp>
        <p:sp>
          <p:nvSpPr>
            <p:cNvPr id="124" name="Rectangle: Rounded Corners 131">
              <a:extLst>
                <a:ext uri="{FF2B5EF4-FFF2-40B4-BE49-F238E27FC236}">
                  <a16:creationId xmlns:a16="http://schemas.microsoft.com/office/drawing/2014/main" id="{04D51923-8384-4170-9CDD-DB8876FEF770}"/>
                </a:ext>
              </a:extLst>
            </p:cNvPr>
            <p:cNvSpPr/>
            <p:nvPr/>
          </p:nvSpPr>
          <p:spPr>
            <a:xfrm>
              <a:off x="6898217" y="1871133"/>
              <a:ext cx="1656000" cy="24000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6000" tIns="48000" rIns="96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6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Perfomance</a:t>
              </a:r>
              <a:r>
                <a:rPr kumimoji="0" lang="en-GB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as a Service</a:t>
              </a:r>
            </a:p>
          </p:txBody>
        </p:sp>
      </p:grpSp>
      <p:sp>
        <p:nvSpPr>
          <p:cNvPr id="128" name="Textplatzhalter 21">
            <a:extLst>
              <a:ext uri="{FF2B5EF4-FFF2-40B4-BE49-F238E27FC236}">
                <a16:creationId xmlns:a16="http://schemas.microsoft.com/office/drawing/2014/main" id="{C0F5C47F-0A6F-41E9-9144-B55CB0D1ED2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16563" y="191135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29" name="Textplatzhalter 21">
            <a:extLst>
              <a:ext uri="{FF2B5EF4-FFF2-40B4-BE49-F238E27FC236}">
                <a16:creationId xmlns:a16="http://schemas.microsoft.com/office/drawing/2014/main" id="{B3A44905-39E5-4918-8808-38233324CFC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658225" y="981075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4" name="Textplatzhalter 21">
            <a:extLst>
              <a:ext uri="{FF2B5EF4-FFF2-40B4-BE49-F238E27FC236}">
                <a16:creationId xmlns:a16="http://schemas.microsoft.com/office/drawing/2014/main" id="{FD8751AF-22CC-44D5-8D7C-6096F8F117E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658225" y="1290638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5" name="Textplatzhalter 21">
            <a:extLst>
              <a:ext uri="{FF2B5EF4-FFF2-40B4-BE49-F238E27FC236}">
                <a16:creationId xmlns:a16="http://schemas.microsoft.com/office/drawing/2014/main" id="{CB457E16-5870-4C9B-942F-CDCE6BE0E33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658225" y="1600200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136" name="Textplatzhalter 21">
            <a:extLst>
              <a:ext uri="{FF2B5EF4-FFF2-40B4-BE49-F238E27FC236}">
                <a16:creationId xmlns:a16="http://schemas.microsoft.com/office/drawing/2014/main" id="{F0D9C07C-4E19-47CD-9C2A-7C0F5D75F06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658225" y="1909763"/>
            <a:ext cx="160338" cy="160338"/>
          </a:xfrm>
          <a:prstGeom prst="rect">
            <a:avLst/>
          </a:prstGeom>
          <a:noFill/>
          <a:ln w="9525"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4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36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100" b="0" i="0" kern="1200" noProof="0" dirty="0" smtClean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2114550" indent="-285750" algn="ctr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942E23-FEBB-417E-9DEF-2E72BA3B01A2}"/>
              </a:ext>
            </a:extLst>
          </p:cNvPr>
          <p:cNvSpPr/>
          <p:nvPr/>
        </p:nvSpPr>
        <p:spPr>
          <a:xfrm>
            <a:off x="11356624" y="6339456"/>
            <a:ext cx="835377" cy="538865"/>
          </a:xfrm>
          <a:prstGeom prst="rect">
            <a:avLst/>
          </a:prstGeom>
          <a:solidFill>
            <a:schemeClr val="bg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058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FQugcSAqB0BDeo.qc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N5IAA4RDmYdXoDWguY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y_sAVQeKbFywytHhd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4v1xRQSZWeiVQjzbT8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3M2VflRXiXbb_kj5rn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06tkY0RhKfGYjzdt0j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1Dj99tTiWSGddExugg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9HLZTQaIDs5sPW7i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ogPzsAQv.q3bIyiCIb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h1XP5uQ56BjbTYv7u0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.QjEbuSsaEOUdcAftq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dexsoNRcWV8awfN8Qd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hKD96DSaOFjfldwz2.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K38RGlTPSZyuCx1Xq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hT0JAPS9OYOSFEVx4w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B.dtcSV.zQCZwh.nR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D6Hwn4Rrilv8yoHyEq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eOtzoR_GXadsDM.Oz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YNbiT7Q2CqSL_UqQsB1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zPO3_CTZqmvmDtzHE4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5XpIU6Qc2JowzZ_C_f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VHTW3Sx2jgdgFT9Wv8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2hu64iTN2h1xyWJXOT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ASdd2QMiw0hpaAwV7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tNy5G3QVmYIltM8dLc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WC2EMaQ7mParkOo4K27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NyC8juRomQ1XfDqGyR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M5X1SRQReAV6Qj68q0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4UYm.QMypmM332k_dC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y_CZvQlaifFq5YZN2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GPiny8S0SwLYHOkftj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r5DkOwQ76fEGUpgLmE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oFmrHlTk6wXuRSBHS8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2LfAxzTXS0OjO6teRU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hpAzOqT.W3ztZ1gPWDD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dsyddPQiSrO0YvXLig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uIY16sTny07wkiDQjiH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fmqUFiRNe47Hkm9..8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.xnVtmSQmUXycP4CR9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J0bGWS9SWnOK.ld031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t0RKGSTJiNwsbWrlUw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Ir3fzFS9C3KIIT56Ove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.5BNeT2uhBqMi7ep6E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CaNTdGRqKEaHZQXU9I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FbxC_SR8yko9So9mm84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Fv4f2uRb.8D3fPpuNz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3.xml><?xml version="1.0" encoding="utf-8"?>
<a:theme xmlns:a="http://schemas.openxmlformats.org/drawingml/2006/main" name="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7B3F0D7619E374C813C42EDF56956BB" ma:contentTypeVersion="12" ma:contentTypeDescription="Luo uusi asiakirja." ma:contentTypeScope="" ma:versionID="40f876a39a506c238ad4cab9614f6c6f">
  <xsd:schema xmlns:xsd="http://www.w3.org/2001/XMLSchema" xmlns:xs="http://www.w3.org/2001/XMLSchema" xmlns:p="http://schemas.microsoft.com/office/2006/metadata/properties" xmlns:ns2="54b26aad-a0f2-4e8e-9033-8cb316f00d3c" xmlns:ns3="86180d94-988f-4b84-ac13-063f09c9db95" targetNamespace="http://schemas.microsoft.com/office/2006/metadata/properties" ma:root="true" ma:fieldsID="68241eca2701d1e2c7c068d8f97ac532" ns2:_="" ns3:_="">
    <xsd:import namespace="54b26aad-a0f2-4e8e-9033-8cb316f00d3c"/>
    <xsd:import namespace="86180d94-988f-4b84-ac13-063f09c9db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26aad-a0f2-4e8e-9033-8cb316f00d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80d94-988f-4b84-ac13-063f09c9db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F61698-263C-4036-AA68-03AE6AF070F4}"/>
</file>

<file path=customXml/itemProps2.xml><?xml version="1.0" encoding="utf-8"?>
<ds:datastoreItem xmlns:ds="http://schemas.openxmlformats.org/officeDocument/2006/customXml" ds:itemID="{7EDF8ACB-B0DA-48FF-B319-E799F9BAD9A6}"/>
</file>

<file path=customXml/itemProps3.xml><?xml version="1.0" encoding="utf-8"?>
<ds:datastoreItem xmlns:ds="http://schemas.openxmlformats.org/officeDocument/2006/customXml" ds:itemID="{7CE9F005-F578-4E1C-BBD0-35BEF5BE5484}"/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373</Words>
  <Application>Microsoft Office PowerPoint</Application>
  <PresentationFormat>Widescreen</PresentationFormat>
  <Paragraphs>9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Georgia</vt:lpstr>
      <vt:lpstr>Times New Roman</vt:lpstr>
      <vt:lpstr>Verdana</vt:lpstr>
      <vt:lpstr>Office Theme</vt:lpstr>
      <vt:lpstr>Sitra theme</vt:lpstr>
      <vt:lpstr>Sitra_May 2018</vt:lpstr>
      <vt:lpstr>think-cell Slide</vt:lpstr>
      <vt:lpstr>FUNDING REQUIREMENT ANALYSIS</vt:lpstr>
      <vt:lpstr>Funding requirement analysis</vt:lpstr>
      <vt:lpstr>Funding requirement analysis</vt:lpstr>
      <vt:lpstr>FUNDING REQUIREMENT ANALYSI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onen, Sara</dc:creator>
  <cp:lastModifiedBy>Reponen, Sara</cp:lastModifiedBy>
  <cp:revision>5</cp:revision>
  <dcterms:created xsi:type="dcterms:W3CDTF">2018-06-07T07:26:40Z</dcterms:created>
  <dcterms:modified xsi:type="dcterms:W3CDTF">2018-06-20T05:4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B3F0D7619E374C813C42EDF56956BB</vt:lpwstr>
  </property>
</Properties>
</file>